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notesSlides/notesSlide27.xml" ContentType="application/vnd.openxmlformats-officedocument.presentationml.notesSlide+xml"/>
  <Override PartName="/ppt/tags/tag49.xml" ContentType="application/vnd.openxmlformats-officedocument.presentationml.tags+xml"/>
  <Override PartName="/ppt/notesSlides/notesSlide28.xml" ContentType="application/vnd.openxmlformats-officedocument.presentationml.notesSlide+xml"/>
  <Override PartName="/ppt/tags/tag50.xml" ContentType="application/vnd.openxmlformats-officedocument.presentationml.tags+xml"/>
  <Override PartName="/ppt/notesSlides/notesSlide29.xml" ContentType="application/vnd.openxmlformats-officedocument.presentationml.notesSlide+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notesSlides/notesSlide38.xml" ContentType="application/vnd.openxmlformats-officedocument.presentationml.notesSlide+xml"/>
  <Override PartName="/ppt/tags/tag60.xml" ContentType="application/vnd.openxmlformats-officedocument.presentationml.tags+xml"/>
  <Override PartName="/ppt/notesSlides/notesSlide39.xml" ContentType="application/vnd.openxmlformats-officedocument.presentationml.notesSlide+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Override PartName="/ppt/notesSlides/notesSlide43.xml" ContentType="application/vnd.openxmlformats-officedocument.presentationml.notesSlide+xml"/>
  <Override PartName="/ppt/tags/tag65.xml" ContentType="application/vnd.openxmlformats-officedocument.presentationml.tags+xml"/>
  <Override PartName="/ppt/notesSlides/notesSlide44.xml" ContentType="application/vnd.openxmlformats-officedocument.presentationml.notesSlide+xml"/>
  <Override PartName="/ppt/tags/tag66.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notesSlides/notesSlide46.xml" ContentType="application/vnd.openxmlformats-officedocument.presentationml.notesSlide+xml"/>
  <Override PartName="/ppt/tags/tag68.xml" ContentType="application/vnd.openxmlformats-officedocument.presentationml.tags+xml"/>
  <Override PartName="/ppt/notesSlides/notesSlide47.xml" ContentType="application/vnd.openxmlformats-officedocument.presentationml.notesSlide+xml"/>
  <Override PartName="/ppt/tags/tag69.xml" ContentType="application/vnd.openxmlformats-officedocument.presentationml.tags+xml"/>
  <Override PartName="/ppt/notesSlides/notesSlide48.xml" ContentType="application/vnd.openxmlformats-officedocument.presentationml.notesSlide+xml"/>
  <Override PartName="/ppt/tags/tag70.xml" ContentType="application/vnd.openxmlformats-officedocument.presentationml.tags+xml"/>
  <Override PartName="/ppt/notesSlides/notesSlide49.xml" ContentType="application/vnd.openxmlformats-officedocument.presentationml.notesSlide+xml"/>
  <Override PartName="/ppt/tags/tag71.xml" ContentType="application/vnd.openxmlformats-officedocument.presentationml.tags+xml"/>
  <Override PartName="/ppt/notesSlides/notesSlide50.xml" ContentType="application/vnd.openxmlformats-officedocument.presentationml.notesSlide+xml"/>
  <Override PartName="/ppt/tags/tag72.xml" ContentType="application/vnd.openxmlformats-officedocument.presentationml.tags+xml"/>
  <Override PartName="/ppt/notesSlides/notesSlide51.xml" ContentType="application/vnd.openxmlformats-officedocument.presentationml.notesSlide+xml"/>
  <Override PartName="/ppt/tags/tag73.xml" ContentType="application/vnd.openxmlformats-officedocument.presentationml.tags+xml"/>
  <Override PartName="/ppt/notesSlides/notesSlide52.xml" ContentType="application/vnd.openxmlformats-officedocument.presentationml.notesSlide+xml"/>
  <Override PartName="/ppt/tags/tag74.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notesSlides/notesSlide54.xml" ContentType="application/vnd.openxmlformats-officedocument.presentationml.notesSlide+xml"/>
  <Override PartName="/ppt/tags/tag76.xml" ContentType="application/vnd.openxmlformats-officedocument.presentationml.tags+xml"/>
  <Override PartName="/ppt/notesSlides/notesSlide55.xml" ContentType="application/vnd.openxmlformats-officedocument.presentationml.notesSlide+xml"/>
  <Override PartName="/ppt/tags/tag77.xml" ContentType="application/vnd.openxmlformats-officedocument.presentationml.tags+xml"/>
  <Override PartName="/ppt/notesSlides/notesSlide56.xml" ContentType="application/vnd.openxmlformats-officedocument.presentationml.notesSlide+xml"/>
  <Override PartName="/ppt/tags/tag78.xml" ContentType="application/vnd.openxmlformats-officedocument.presentationml.tags+xml"/>
  <Override PartName="/ppt/notesSlides/notesSlide57.xml" ContentType="application/vnd.openxmlformats-officedocument.presentationml.notesSlide+xml"/>
  <Override PartName="/ppt/tags/tag79.xml" ContentType="application/vnd.openxmlformats-officedocument.presentationml.tags+xml"/>
  <Override PartName="/ppt/notesSlides/notesSlide58.xml" ContentType="application/vnd.openxmlformats-officedocument.presentationml.notesSlide+xml"/>
  <Override PartName="/ppt/tags/tag80.xml" ContentType="application/vnd.openxmlformats-officedocument.presentationml.tags+xml"/>
  <Override PartName="/ppt/notesSlides/notesSlide59.xml" ContentType="application/vnd.openxmlformats-officedocument.presentationml.notesSlide+xml"/>
  <Override PartName="/ppt/tags/tag81.xml" ContentType="application/vnd.openxmlformats-officedocument.presentationml.tags+xml"/>
  <Override PartName="/ppt/notesSlides/notesSlide60.xml" ContentType="application/vnd.openxmlformats-officedocument.presentationml.notesSlide+xml"/>
  <Override PartName="/ppt/tags/tag82.xml" ContentType="application/vnd.openxmlformats-officedocument.presentationml.tags+xml"/>
  <Override PartName="/ppt/notesSlides/notesSlide61.xml" ContentType="application/vnd.openxmlformats-officedocument.presentationml.notesSlide+xml"/>
  <Override PartName="/ppt/tags/tag83.xml" ContentType="application/vnd.openxmlformats-officedocument.presentationml.tags+xml"/>
  <Override PartName="/ppt/notesSlides/notesSlide62.xml" ContentType="application/vnd.openxmlformats-officedocument.presentationml.notesSlide+xml"/>
  <Override PartName="/ppt/tags/tag84.xml" ContentType="application/vnd.openxmlformats-officedocument.presentationml.tags+xml"/>
  <Override PartName="/ppt/notesSlides/notesSlide63.xml" ContentType="application/vnd.openxmlformats-officedocument.presentationml.notesSlide+xml"/>
  <Override PartName="/ppt/tags/tag85.xml" ContentType="application/vnd.openxmlformats-officedocument.presentationml.tags+xml"/>
  <Override PartName="/ppt/notesSlides/notesSlide64.xml" ContentType="application/vnd.openxmlformats-officedocument.presentationml.notesSlide+xml"/>
  <Override PartName="/ppt/tags/tag86.xml" ContentType="application/vnd.openxmlformats-officedocument.presentationml.tags+xml"/>
  <Override PartName="/ppt/notesSlides/notesSlide65.xml" ContentType="application/vnd.openxmlformats-officedocument.presentationml.notesSlide+xml"/>
  <Override PartName="/ppt/tags/tag87.xml" ContentType="application/vnd.openxmlformats-officedocument.presentationml.tags+xml"/>
  <Override PartName="/ppt/notesSlides/notesSlide66.xml" ContentType="application/vnd.openxmlformats-officedocument.presentationml.notesSlide+xml"/>
  <Override PartName="/ppt/tags/tag88.xml" ContentType="application/vnd.openxmlformats-officedocument.presentationml.tags+xml"/>
  <Override PartName="/ppt/notesSlides/notesSlide67.xml" ContentType="application/vnd.openxmlformats-officedocument.presentationml.notesSlide+xml"/>
  <Override PartName="/ppt/tags/tag89.xml" ContentType="application/vnd.openxmlformats-officedocument.presentationml.tags+xml"/>
  <Override PartName="/ppt/notesSlides/notesSlide68.xml" ContentType="application/vnd.openxmlformats-officedocument.presentationml.notesSlide+xml"/>
  <Override PartName="/ppt/tags/tag90.xml" ContentType="application/vnd.openxmlformats-officedocument.presentationml.tags+xml"/>
  <Override PartName="/ppt/notesSlides/notesSlide69.xml" ContentType="application/vnd.openxmlformats-officedocument.presentationml.notesSlide+xml"/>
  <Override PartName="/ppt/tags/tag91.xml" ContentType="application/vnd.openxmlformats-officedocument.presentationml.tags+xml"/>
  <Override PartName="/ppt/notesSlides/notesSlide70.xml" ContentType="application/vnd.openxmlformats-officedocument.presentationml.notesSlide+xml"/>
  <Override PartName="/ppt/tags/tag92.xml" ContentType="application/vnd.openxmlformats-officedocument.presentationml.tags+xml"/>
  <Override PartName="/ppt/notesSlides/notesSlide71.xml" ContentType="application/vnd.openxmlformats-officedocument.presentationml.notesSlide+xml"/>
  <Override PartName="/ppt/tags/tag93.xml" ContentType="application/vnd.openxmlformats-officedocument.presentationml.tags+xml"/>
  <Override PartName="/ppt/notesSlides/notesSlide72.xml" ContentType="application/vnd.openxmlformats-officedocument.presentationml.notesSlide+xml"/>
  <Override PartName="/ppt/tags/tag94.xml" ContentType="application/vnd.openxmlformats-officedocument.presentationml.tags+xml"/>
  <Override PartName="/ppt/notesSlides/notesSlide73.xml" ContentType="application/vnd.openxmlformats-officedocument.presentationml.notesSlide+xml"/>
  <Override PartName="/ppt/tags/tag95.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notesSlides/notesSlide75.xml" ContentType="application/vnd.openxmlformats-officedocument.presentationml.notesSlide+xml"/>
  <Override PartName="/ppt/tags/tag97.xml" ContentType="application/vnd.openxmlformats-officedocument.presentationml.tags+xml"/>
  <Override PartName="/ppt/notesSlides/notesSlide76.xml" ContentType="application/vnd.openxmlformats-officedocument.presentationml.notesSlide+xml"/>
  <Override PartName="/ppt/tags/tag98.xml" ContentType="application/vnd.openxmlformats-officedocument.presentationml.tags+xml"/>
  <Override PartName="/ppt/notesSlides/notesSlide77.xml" ContentType="application/vnd.openxmlformats-officedocument.presentationml.notesSlide+xml"/>
  <Override PartName="/ppt/tags/tag99.xml" ContentType="application/vnd.openxmlformats-officedocument.presentationml.tags+xml"/>
  <Override PartName="/ppt/notesSlides/notesSlide78.xml" ContentType="application/vnd.openxmlformats-officedocument.presentationml.notesSlide+xml"/>
  <Override PartName="/ppt/tags/tag100.xml" ContentType="application/vnd.openxmlformats-officedocument.presentationml.tags+xml"/>
  <Override PartName="/ppt/notesSlides/notesSlide79.xml" ContentType="application/vnd.openxmlformats-officedocument.presentationml.notesSlide+xml"/>
  <Override PartName="/ppt/tags/tag101.xml" ContentType="application/vnd.openxmlformats-officedocument.presentationml.tags+xml"/>
  <Override PartName="/ppt/notesSlides/notesSlide80.xml" ContentType="application/vnd.openxmlformats-officedocument.presentationml.notesSlide+xml"/>
  <Override PartName="/ppt/tags/tag102.xml" ContentType="application/vnd.openxmlformats-officedocument.presentationml.tags+xml"/>
  <Override PartName="/ppt/notesSlides/notesSlide81.xml" ContentType="application/vnd.openxmlformats-officedocument.presentationml.notesSlide+xml"/>
  <Override PartName="/ppt/tags/tag103.xml" ContentType="application/vnd.openxmlformats-officedocument.presentationml.tags+xml"/>
  <Override PartName="/ppt/notesSlides/notesSlide82.xml" ContentType="application/vnd.openxmlformats-officedocument.presentationml.notesSlide+xml"/>
  <Override PartName="/ppt/tags/tag104.xml" ContentType="application/vnd.openxmlformats-officedocument.presentationml.tags+xml"/>
  <Override PartName="/ppt/notesSlides/notesSlide83.xml" ContentType="application/vnd.openxmlformats-officedocument.presentationml.notesSlide+xml"/>
  <Override PartName="/ppt/tags/tag105.xml" ContentType="application/vnd.openxmlformats-officedocument.presentationml.tags+xml"/>
  <Override PartName="/ppt/notesSlides/notesSlide84.xml" ContentType="application/vnd.openxmlformats-officedocument.presentationml.notesSlide+xml"/>
  <Override PartName="/ppt/tags/tag106.xml" ContentType="application/vnd.openxmlformats-officedocument.presentationml.tags+xml"/>
  <Override PartName="/ppt/notesSlides/notesSlide85.xml" ContentType="application/vnd.openxmlformats-officedocument.presentationml.notesSlide+xml"/>
  <Override PartName="/ppt/tags/tag107.xml" ContentType="application/vnd.openxmlformats-officedocument.presentationml.tags+xml"/>
  <Override PartName="/ppt/notesSlides/notesSlide86.xml" ContentType="application/vnd.openxmlformats-officedocument.presentationml.notesSlide+xml"/>
  <Override PartName="/ppt/tags/tag108.xml" ContentType="application/vnd.openxmlformats-officedocument.presentationml.tags+xml"/>
  <Override PartName="/ppt/notesSlides/notesSlide87.xml" ContentType="application/vnd.openxmlformats-officedocument.presentationml.notesSlide+xml"/>
  <Override PartName="/ppt/tags/tag109.xml" ContentType="application/vnd.openxmlformats-officedocument.presentationml.tags+xml"/>
  <Override PartName="/ppt/notesSlides/notesSlide8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538" r:id="rId1"/>
  </p:sldMasterIdLst>
  <p:notesMasterIdLst>
    <p:notesMasterId r:id="rId90"/>
  </p:notesMasterIdLst>
  <p:handoutMasterIdLst>
    <p:handoutMasterId r:id="rId91"/>
  </p:handoutMasterIdLst>
  <p:sldIdLst>
    <p:sldId id="2147483048" r:id="rId2"/>
    <p:sldId id="2147483172" r:id="rId3"/>
    <p:sldId id="2147482474" r:id="rId4"/>
    <p:sldId id="2147482475" r:id="rId5"/>
    <p:sldId id="2147482476" r:id="rId6"/>
    <p:sldId id="2147483092" r:id="rId7"/>
    <p:sldId id="2147483175" r:id="rId8"/>
    <p:sldId id="2147483176" r:id="rId9"/>
    <p:sldId id="2147482423" r:id="rId10"/>
    <p:sldId id="2147483177" r:id="rId11"/>
    <p:sldId id="2147483178" r:id="rId12"/>
    <p:sldId id="2147483179" r:id="rId13"/>
    <p:sldId id="2147483180" r:id="rId14"/>
    <p:sldId id="2147483181" r:id="rId15"/>
    <p:sldId id="2147483182" r:id="rId16"/>
    <p:sldId id="2147483183" r:id="rId17"/>
    <p:sldId id="2147483184" r:id="rId18"/>
    <p:sldId id="2147483185" r:id="rId19"/>
    <p:sldId id="2147483186" r:id="rId20"/>
    <p:sldId id="2147483187" r:id="rId21"/>
    <p:sldId id="2147483188" r:id="rId22"/>
    <p:sldId id="2147483189" r:id="rId23"/>
    <p:sldId id="2147483190" r:id="rId24"/>
    <p:sldId id="2147483191" r:id="rId25"/>
    <p:sldId id="2147483192" r:id="rId26"/>
    <p:sldId id="2147483193" r:id="rId27"/>
    <p:sldId id="2147483194" r:id="rId28"/>
    <p:sldId id="2147483195" r:id="rId29"/>
    <p:sldId id="2147483196" r:id="rId30"/>
    <p:sldId id="2147483197" r:id="rId31"/>
    <p:sldId id="2147483198" r:id="rId32"/>
    <p:sldId id="2147483199" r:id="rId33"/>
    <p:sldId id="2147483200" r:id="rId34"/>
    <p:sldId id="2147483201" r:id="rId35"/>
    <p:sldId id="2147483202" r:id="rId36"/>
    <p:sldId id="2147483203" r:id="rId37"/>
    <p:sldId id="2147483204" r:id="rId38"/>
    <p:sldId id="2147483205" r:id="rId39"/>
    <p:sldId id="2147483206" r:id="rId40"/>
    <p:sldId id="2147483207" r:id="rId41"/>
    <p:sldId id="2147483208" r:id="rId42"/>
    <p:sldId id="2147483209" r:id="rId43"/>
    <p:sldId id="2147483210" r:id="rId44"/>
    <p:sldId id="2147483211" r:id="rId45"/>
    <p:sldId id="2147483212" r:id="rId46"/>
    <p:sldId id="2147483213" r:id="rId47"/>
    <p:sldId id="2147483214" r:id="rId48"/>
    <p:sldId id="2147483215" r:id="rId49"/>
    <p:sldId id="2147483216" r:id="rId50"/>
    <p:sldId id="2147483217" r:id="rId51"/>
    <p:sldId id="2147483218" r:id="rId52"/>
    <p:sldId id="2147483219" r:id="rId53"/>
    <p:sldId id="2147483220" r:id="rId54"/>
    <p:sldId id="2147483221" r:id="rId55"/>
    <p:sldId id="2147483222" r:id="rId56"/>
    <p:sldId id="2147483223" r:id="rId57"/>
    <p:sldId id="2147483224" r:id="rId58"/>
    <p:sldId id="2147483225" r:id="rId59"/>
    <p:sldId id="2147483226" r:id="rId60"/>
    <p:sldId id="2147483173" r:id="rId61"/>
    <p:sldId id="2147483174" r:id="rId62"/>
    <p:sldId id="2147483227" r:id="rId63"/>
    <p:sldId id="2147483228" r:id="rId64"/>
    <p:sldId id="2147483229" r:id="rId65"/>
    <p:sldId id="2147483230" r:id="rId66"/>
    <p:sldId id="2147483231" r:id="rId67"/>
    <p:sldId id="2147483232" r:id="rId68"/>
    <p:sldId id="2147483233" r:id="rId69"/>
    <p:sldId id="2147483234" r:id="rId70"/>
    <p:sldId id="2147483235" r:id="rId71"/>
    <p:sldId id="2147483236" r:id="rId72"/>
    <p:sldId id="2147483237" r:id="rId73"/>
    <p:sldId id="2147483238" r:id="rId74"/>
    <p:sldId id="2147483239" r:id="rId75"/>
    <p:sldId id="2147483240" r:id="rId76"/>
    <p:sldId id="2147483241" r:id="rId77"/>
    <p:sldId id="2147483242" r:id="rId78"/>
    <p:sldId id="2147483243" r:id="rId79"/>
    <p:sldId id="2147483244" r:id="rId80"/>
    <p:sldId id="2147483245" r:id="rId81"/>
    <p:sldId id="2147483246" r:id="rId82"/>
    <p:sldId id="2147483247" r:id="rId83"/>
    <p:sldId id="2147483248" r:id="rId84"/>
    <p:sldId id="2147483249" r:id="rId85"/>
    <p:sldId id="2147483250" r:id="rId86"/>
    <p:sldId id="2147483251" r:id="rId87"/>
    <p:sldId id="2147483252" r:id="rId88"/>
    <p:sldId id="2147482418" r:id="rId89"/>
  </p:sldIdLst>
  <p:sldSz cx="12192000" cy="6858000"/>
  <p:notesSz cx="7099300" cy="10234613"/>
  <p:custShowLst>
    <p:custShow name="Format Guide Workshop" id="0">
      <p:sldLst/>
    </p:custShow>
  </p:custShowLst>
  <p:custDataLst>
    <p:tags r:id="rId9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88" userDrawn="1">
          <p15:clr>
            <a:srgbClr val="A4A3A4"/>
          </p15:clr>
        </p15:guide>
        <p15:guide id="2" pos="3552" userDrawn="1">
          <p15:clr>
            <a:srgbClr val="A4A3A4"/>
          </p15:clr>
        </p15:guide>
        <p15:guide id="3" pos="3840" userDrawn="1">
          <p15:clr>
            <a:srgbClr val="A4A3A4"/>
          </p15:clr>
        </p15:guide>
        <p15:guide id="4" pos="4056" userDrawn="1">
          <p15:clr>
            <a:srgbClr val="A4A3A4"/>
          </p15:clr>
        </p15:guide>
        <p15:guide id="5" pos="360" userDrawn="1">
          <p15:clr>
            <a:srgbClr val="A4A3A4"/>
          </p15:clr>
        </p15:guide>
        <p15:guide id="6" pos="732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8" name="Author" initials="A" lastIdx="0" clrIdx="7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6DAB"/>
    <a:srgbClr val="64AA44"/>
    <a:srgbClr val="FFF0CD"/>
    <a:srgbClr val="FF862C"/>
    <a:srgbClr val="E26100"/>
    <a:srgbClr val="FFECDD"/>
    <a:srgbClr val="FFC295"/>
    <a:srgbClr val="D16C65"/>
    <a:srgbClr val="F3D775"/>
    <a:srgbClr val="716B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671D3C-ED69-4047-9E02-FD7F813CD918}" v="17" dt="2025-03-27T11:30:31.0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83" autoAdjust="0"/>
    <p:restoredTop sz="94660"/>
  </p:normalViewPr>
  <p:slideViewPr>
    <p:cSldViewPr snapToGrid="0">
      <p:cViewPr>
        <p:scale>
          <a:sx n="91" d="100"/>
          <a:sy n="91" d="100"/>
        </p:scale>
        <p:origin x="72" y="-14"/>
      </p:cViewPr>
      <p:guideLst>
        <p:guide orient="horz" pos="888"/>
        <p:guide pos="3552"/>
        <p:guide pos="3840"/>
        <p:guide pos="4056"/>
        <p:guide pos="360"/>
        <p:guide pos="73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customXml" Target="../customXml/item3.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99" Type="http://schemas.microsoft.com/office/2018/10/relationships/authors" Target="authors.xml"/><Relationship Id="rId101"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commentAuthors" Target="commentAuthors.xml"/><Relationship Id="rId98" Type="http://schemas.microsoft.com/office/2015/10/relationships/revisionInfo" Target="revisionInfo.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2" y="13"/>
            <a:ext cx="3076363" cy="513509"/>
          </a:xfrm>
          <a:prstGeom prst="rect">
            <a:avLst/>
          </a:prstGeom>
        </p:spPr>
        <p:txBody>
          <a:bodyPr vert="horz" lIns="92410" tIns="46206" rIns="92410" bIns="46206" rtlCol="0"/>
          <a:lstStyle>
            <a:lvl1pPr algn="l">
              <a:defRPr sz="1100"/>
            </a:lvl1pPr>
          </a:lstStyle>
          <a:p>
            <a:endParaRPr lang="en-US" sz="800" dirty="0"/>
          </a:p>
        </p:txBody>
      </p:sp>
      <p:sp>
        <p:nvSpPr>
          <p:cNvPr id="3" name="Date Placeholder 2"/>
          <p:cNvSpPr>
            <a:spLocks noGrp="1"/>
          </p:cNvSpPr>
          <p:nvPr>
            <p:ph type="dt" sz="quarter" idx="1"/>
          </p:nvPr>
        </p:nvSpPr>
        <p:spPr>
          <a:xfrm>
            <a:off x="4021306" y="13"/>
            <a:ext cx="3076363" cy="513509"/>
          </a:xfrm>
          <a:prstGeom prst="rect">
            <a:avLst/>
          </a:prstGeom>
        </p:spPr>
        <p:txBody>
          <a:bodyPr vert="horz" lIns="92410" tIns="46206" rIns="92410" bIns="46206" rtlCol="0"/>
          <a:lstStyle>
            <a:lvl1pPr algn="r">
              <a:defRPr sz="1100"/>
            </a:lvl1pPr>
          </a:lstStyle>
          <a:p>
            <a:fld id="{57691E93-EF64-46CC-85E2-BBB5BEDB9501}" type="datetimeFigureOut">
              <a:rPr lang="en-US" sz="800"/>
              <a:t>3/27/2025</a:t>
            </a:fld>
            <a:endParaRPr lang="en-US" sz="800" dirty="0"/>
          </a:p>
        </p:txBody>
      </p:sp>
      <p:sp>
        <p:nvSpPr>
          <p:cNvPr id="4" name="Footer Placeholder 3"/>
          <p:cNvSpPr>
            <a:spLocks noGrp="1"/>
          </p:cNvSpPr>
          <p:nvPr>
            <p:ph type="ftr" sz="quarter" idx="2"/>
          </p:nvPr>
        </p:nvSpPr>
        <p:spPr>
          <a:xfrm>
            <a:off x="12" y="9721110"/>
            <a:ext cx="3076363" cy="513507"/>
          </a:xfrm>
          <a:prstGeom prst="rect">
            <a:avLst/>
          </a:prstGeom>
        </p:spPr>
        <p:txBody>
          <a:bodyPr vert="horz" lIns="92410" tIns="46206" rIns="92410" bIns="46206" rtlCol="0" anchor="b"/>
          <a:lstStyle>
            <a:lvl1pPr algn="l">
              <a:defRPr sz="1100"/>
            </a:lvl1pPr>
          </a:lstStyle>
          <a:p>
            <a:endParaRPr lang="en-US" sz="800" dirty="0"/>
          </a:p>
        </p:txBody>
      </p:sp>
      <p:sp>
        <p:nvSpPr>
          <p:cNvPr id="5" name="Slide Number Placeholder 4"/>
          <p:cNvSpPr>
            <a:spLocks noGrp="1"/>
          </p:cNvSpPr>
          <p:nvPr>
            <p:ph type="sldNum" sz="quarter" idx="3"/>
          </p:nvPr>
        </p:nvSpPr>
        <p:spPr>
          <a:xfrm>
            <a:off x="4021306" y="9721110"/>
            <a:ext cx="3076363" cy="513507"/>
          </a:xfrm>
          <a:prstGeom prst="rect">
            <a:avLst/>
          </a:prstGeom>
        </p:spPr>
        <p:txBody>
          <a:bodyPr vert="horz" lIns="92410" tIns="46206" rIns="92410" bIns="46206" rtlCol="0" anchor="b"/>
          <a:lstStyle>
            <a:lvl1pPr algn="r">
              <a:defRPr sz="11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2" y="4887575"/>
            <a:ext cx="7097657" cy="534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10" tIns="46206" rIns="92410" bIns="46206" rtlCol="0" anchor="ctr"/>
          <a:lstStyle/>
          <a:p>
            <a:pPr algn="ct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Header Placeholder 1"/>
          <p:cNvSpPr>
            <a:spLocks noGrp="1"/>
          </p:cNvSpPr>
          <p:nvPr>
            <p:ph type="hdr" sz="quarter"/>
          </p:nvPr>
        </p:nvSpPr>
        <p:spPr>
          <a:xfrm>
            <a:off x="84200" y="13"/>
            <a:ext cx="2992169" cy="513509"/>
          </a:xfrm>
          <a:prstGeom prst="rect">
            <a:avLst/>
          </a:prstGeom>
        </p:spPr>
        <p:txBody>
          <a:bodyPr vert="horz" lIns="92410" tIns="46206" rIns="92410" bIns="46206" rtlCol="0"/>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4" name="Slide Image Placeholder 3"/>
          <p:cNvSpPr>
            <a:spLocks noGrp="1" noRot="1" noChangeAspect="1"/>
          </p:cNvSpPr>
          <p:nvPr>
            <p:ph type="sldImg" idx="2"/>
          </p:nvPr>
        </p:nvSpPr>
        <p:spPr>
          <a:xfrm>
            <a:off x="201613" y="823913"/>
            <a:ext cx="6543675" cy="3681412"/>
          </a:xfrm>
          <a:prstGeom prst="rect">
            <a:avLst/>
          </a:prstGeom>
          <a:noFill/>
          <a:ln w="9525">
            <a:solidFill>
              <a:schemeClr val="bg2"/>
            </a:solidFill>
          </a:ln>
        </p:spPr>
        <p:txBody>
          <a:bodyPr vert="horz" lIns="92410" tIns="46206" rIns="92410" bIns="46206" rtlCol="0" anchor="ctr"/>
          <a:lstStyle/>
          <a:p>
            <a:endParaRPr lang="en-US" dirty="0"/>
          </a:p>
        </p:txBody>
      </p:sp>
      <p:sp>
        <p:nvSpPr>
          <p:cNvPr id="6" name="Footer Placeholder 5"/>
          <p:cNvSpPr>
            <a:spLocks noGrp="1"/>
          </p:cNvSpPr>
          <p:nvPr>
            <p:ph type="ftr" sz="quarter" idx="4"/>
          </p:nvPr>
        </p:nvSpPr>
        <p:spPr>
          <a:xfrm>
            <a:off x="84200" y="9689450"/>
            <a:ext cx="2992169" cy="513507"/>
          </a:xfrm>
          <a:prstGeom prst="rect">
            <a:avLst/>
          </a:prstGeom>
        </p:spPr>
        <p:txBody>
          <a:bodyPr vert="horz" lIns="92410" tIns="46206" rIns="92410" bIns="46206" rtlCol="0" anchor="b"/>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7" name="Slide Number Placeholder 6"/>
          <p:cNvSpPr>
            <a:spLocks noGrp="1"/>
          </p:cNvSpPr>
          <p:nvPr>
            <p:ph type="sldNum" sz="quarter" idx="5"/>
          </p:nvPr>
        </p:nvSpPr>
        <p:spPr>
          <a:xfrm>
            <a:off x="4021302" y="9689450"/>
            <a:ext cx="2982650" cy="513507"/>
          </a:xfrm>
          <a:prstGeom prst="rect">
            <a:avLst/>
          </a:prstGeom>
        </p:spPr>
        <p:txBody>
          <a:bodyPr vert="horz" lIns="92410" tIns="46206" rIns="92410" bIns="46206" rtlCol="0" anchor="b"/>
          <a:lstStyle>
            <a:lvl1pPr algn="r">
              <a:defRPr sz="13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65095" y="5224372"/>
            <a:ext cx="6551127" cy="4176419"/>
          </a:xfrm>
          <a:prstGeom prst="rect">
            <a:avLst/>
          </a:prstGeom>
        </p:spPr>
        <p:txBody>
          <a:bodyPr vert="horz" lIns="92410" tIns="46206" rIns="92410" bIns="4620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6" userDrawn="1">
          <p15:clr>
            <a:srgbClr val="F26B43"/>
          </p15:clr>
        </p15:guide>
        <p15:guide id="2" pos="223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1474C-9B26-CD63-A2D6-64EDD99781B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8A1146E-BCA2-0FCA-49C2-C7C9B5EF69A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56AD784-A226-00AA-B861-46941DB8E04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E479611-BDD0-B301-DAA5-E509AE3D036B}"/>
              </a:ext>
            </a:extLst>
          </p:cNvPr>
          <p:cNvSpPr>
            <a:spLocks noGrp="1"/>
          </p:cNvSpPr>
          <p:nvPr>
            <p:ph type="sldNum" sz="quarter" idx="5"/>
          </p:nvPr>
        </p:nvSpPr>
        <p:spPr/>
        <p:txBody>
          <a:bodyPr/>
          <a:lstStyle/>
          <a:p>
            <a:pPr defTabSz="946495">
              <a:defRPr/>
            </a:pPr>
            <a:r>
              <a:rPr lang="en-US" altLang="ja-JP" dirty="0">
                <a:solidFill>
                  <a:srgbClr val="000000"/>
                </a:solidFill>
              </a:rPr>
              <a:t>Notes view: </a:t>
            </a:r>
            <a:fld id="{128CEAFE-FA94-43E5-B0FF-D47E1CCDD1B4}" type="slidenum">
              <a:rPr lang="en-US" altLang="ja-JP">
                <a:solidFill>
                  <a:srgbClr val="000000"/>
                </a:solidFill>
              </a:rPr>
              <a:pPr defTabSz="946495">
                <a:defRPr/>
              </a:pPr>
              <a:t>0</a:t>
            </a:fld>
            <a:endParaRPr lang="en-US" altLang="ja-JP" dirty="0">
              <a:solidFill>
                <a:srgbClr val="000000"/>
              </a:solidFill>
            </a:endParaRPr>
          </a:p>
        </p:txBody>
      </p:sp>
    </p:spTree>
    <p:extLst>
      <p:ext uri="{BB962C8B-B14F-4D97-AF65-F5344CB8AC3E}">
        <p14:creationId xmlns:p14="http://schemas.microsoft.com/office/powerpoint/2010/main" val="1110722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574792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2718166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144106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605595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4247856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172356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894475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2409875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3107232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25359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2DE0C-696F-97EF-47D0-9994C6A7951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2F9955F-CF47-E00C-30B8-3773351B6E6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AB71D46-8570-2A26-73C4-0F68CE741473}"/>
              </a:ext>
            </a:extLst>
          </p:cNvPr>
          <p:cNvSpPr>
            <a:spLocks noGrp="1"/>
          </p:cNvSpPr>
          <p:nvPr>
            <p:ph type="body" idx="1"/>
          </p:nvPr>
        </p:nvSpPr>
        <p:spPr/>
        <p:txBody>
          <a:bodyPr/>
          <a:lstStyle/>
          <a:p>
            <a:pPr>
              <a:buNone/>
            </a:pPr>
            <a:endParaRPr kumimoji="1" lang="ja-JP" altLang="en-US" dirty="0"/>
          </a:p>
        </p:txBody>
      </p:sp>
      <p:sp>
        <p:nvSpPr>
          <p:cNvPr id="4" name="スライド番号プレースホルダー 3">
            <a:extLst>
              <a:ext uri="{FF2B5EF4-FFF2-40B4-BE49-F238E27FC236}">
                <a16:creationId xmlns:a16="http://schemas.microsoft.com/office/drawing/2014/main" id="{EB4010B4-C075-DB82-E1A2-2C7AEE4836F8}"/>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60447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24204654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955146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151052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252113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22701976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7181009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28028300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15353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2621997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4290846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2</a:t>
            </a:fld>
            <a:endParaRPr lang="ja-JP" altLang="en-US"/>
          </a:p>
        </p:txBody>
      </p:sp>
    </p:spTree>
    <p:extLst>
      <p:ext uri="{BB962C8B-B14F-4D97-AF65-F5344CB8AC3E}">
        <p14:creationId xmlns:p14="http://schemas.microsoft.com/office/powerpoint/2010/main" val="203564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17044696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457311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39859961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18698998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29447349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39763075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42408137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9724258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3050288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2450713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3</a:t>
            </a:fld>
            <a:endParaRPr lang="ja-JP" altLang="en-US"/>
          </a:p>
        </p:txBody>
      </p:sp>
    </p:spTree>
    <p:extLst>
      <p:ext uri="{BB962C8B-B14F-4D97-AF65-F5344CB8AC3E}">
        <p14:creationId xmlns:p14="http://schemas.microsoft.com/office/powerpoint/2010/main" val="31499642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9</a:t>
            </a:fld>
            <a:endParaRPr lang="en-US" dirty="0"/>
          </a:p>
        </p:txBody>
      </p:sp>
    </p:spTree>
    <p:extLst>
      <p:ext uri="{BB962C8B-B14F-4D97-AF65-F5344CB8AC3E}">
        <p14:creationId xmlns:p14="http://schemas.microsoft.com/office/powerpoint/2010/main" val="6221544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0</a:t>
            </a:fld>
            <a:endParaRPr lang="en-US" dirty="0"/>
          </a:p>
        </p:txBody>
      </p:sp>
    </p:spTree>
    <p:extLst>
      <p:ext uri="{BB962C8B-B14F-4D97-AF65-F5344CB8AC3E}">
        <p14:creationId xmlns:p14="http://schemas.microsoft.com/office/powerpoint/2010/main" val="27149554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29082164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24550274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3</a:t>
            </a:fld>
            <a:endParaRPr lang="en-US" dirty="0"/>
          </a:p>
        </p:txBody>
      </p:sp>
    </p:spTree>
    <p:extLst>
      <p:ext uri="{BB962C8B-B14F-4D97-AF65-F5344CB8AC3E}">
        <p14:creationId xmlns:p14="http://schemas.microsoft.com/office/powerpoint/2010/main" val="12269734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4</a:t>
            </a:fld>
            <a:endParaRPr lang="en-US" dirty="0"/>
          </a:p>
        </p:txBody>
      </p:sp>
    </p:spTree>
    <p:extLst>
      <p:ext uri="{BB962C8B-B14F-4D97-AF65-F5344CB8AC3E}">
        <p14:creationId xmlns:p14="http://schemas.microsoft.com/office/powerpoint/2010/main" val="183433213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5</a:t>
            </a:fld>
            <a:endParaRPr lang="en-US" dirty="0"/>
          </a:p>
        </p:txBody>
      </p:sp>
    </p:spTree>
    <p:extLst>
      <p:ext uri="{BB962C8B-B14F-4D97-AF65-F5344CB8AC3E}">
        <p14:creationId xmlns:p14="http://schemas.microsoft.com/office/powerpoint/2010/main" val="31363706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6</a:t>
            </a:fld>
            <a:endParaRPr lang="en-US" dirty="0"/>
          </a:p>
        </p:txBody>
      </p:sp>
    </p:spTree>
    <p:extLst>
      <p:ext uri="{BB962C8B-B14F-4D97-AF65-F5344CB8AC3E}">
        <p14:creationId xmlns:p14="http://schemas.microsoft.com/office/powerpoint/2010/main" val="37855980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41267303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1173542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4</a:t>
            </a:fld>
            <a:endParaRPr lang="ja-JP" altLang="en-US"/>
          </a:p>
        </p:txBody>
      </p:sp>
    </p:spTree>
    <p:extLst>
      <p:ext uri="{BB962C8B-B14F-4D97-AF65-F5344CB8AC3E}">
        <p14:creationId xmlns:p14="http://schemas.microsoft.com/office/powerpoint/2010/main" val="14963244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9</a:t>
            </a:fld>
            <a:endParaRPr lang="en-US" dirty="0"/>
          </a:p>
        </p:txBody>
      </p:sp>
    </p:spTree>
    <p:extLst>
      <p:ext uri="{BB962C8B-B14F-4D97-AF65-F5344CB8AC3E}">
        <p14:creationId xmlns:p14="http://schemas.microsoft.com/office/powerpoint/2010/main" val="41013396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35673605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1</a:t>
            </a:fld>
            <a:endParaRPr lang="en-US" dirty="0"/>
          </a:p>
        </p:txBody>
      </p:sp>
    </p:spTree>
    <p:extLst>
      <p:ext uri="{BB962C8B-B14F-4D97-AF65-F5344CB8AC3E}">
        <p14:creationId xmlns:p14="http://schemas.microsoft.com/office/powerpoint/2010/main" val="34994192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2</a:t>
            </a:fld>
            <a:endParaRPr lang="en-US" dirty="0"/>
          </a:p>
        </p:txBody>
      </p:sp>
    </p:spTree>
    <p:extLst>
      <p:ext uri="{BB962C8B-B14F-4D97-AF65-F5344CB8AC3E}">
        <p14:creationId xmlns:p14="http://schemas.microsoft.com/office/powerpoint/2010/main" val="79207591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165059251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36483066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5</a:t>
            </a:fld>
            <a:endParaRPr lang="en-US" dirty="0"/>
          </a:p>
        </p:txBody>
      </p:sp>
    </p:spTree>
    <p:extLst>
      <p:ext uri="{BB962C8B-B14F-4D97-AF65-F5344CB8AC3E}">
        <p14:creationId xmlns:p14="http://schemas.microsoft.com/office/powerpoint/2010/main" val="210399759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6</a:t>
            </a:fld>
            <a:endParaRPr lang="en-US" dirty="0"/>
          </a:p>
        </p:txBody>
      </p:sp>
    </p:spTree>
    <p:extLst>
      <p:ext uri="{BB962C8B-B14F-4D97-AF65-F5344CB8AC3E}">
        <p14:creationId xmlns:p14="http://schemas.microsoft.com/office/powerpoint/2010/main" val="10397724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11170516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4131179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CADA9-7DE6-9B21-7998-451F14F68D4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C7E822D-30F8-5091-6E11-A8517020C0D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A785028-44D8-BAAB-CC5F-5E286BD9FEA4}"/>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7539493B-1CB0-270D-070B-711B12599A0C}"/>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944576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41438010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0</a:t>
            </a:fld>
            <a:endParaRPr lang="en-US" dirty="0"/>
          </a:p>
        </p:txBody>
      </p:sp>
    </p:spTree>
    <p:extLst>
      <p:ext uri="{BB962C8B-B14F-4D97-AF65-F5344CB8AC3E}">
        <p14:creationId xmlns:p14="http://schemas.microsoft.com/office/powerpoint/2010/main" val="10727699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1</a:t>
            </a:fld>
            <a:endParaRPr lang="en-US" dirty="0"/>
          </a:p>
        </p:txBody>
      </p:sp>
    </p:spTree>
    <p:extLst>
      <p:ext uri="{BB962C8B-B14F-4D97-AF65-F5344CB8AC3E}">
        <p14:creationId xmlns:p14="http://schemas.microsoft.com/office/powerpoint/2010/main" val="30340531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10299543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3</a:t>
            </a:fld>
            <a:endParaRPr lang="en-US" dirty="0"/>
          </a:p>
        </p:txBody>
      </p:sp>
    </p:spTree>
    <p:extLst>
      <p:ext uri="{BB962C8B-B14F-4D97-AF65-F5344CB8AC3E}">
        <p14:creationId xmlns:p14="http://schemas.microsoft.com/office/powerpoint/2010/main" val="364009974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4</a:t>
            </a:fld>
            <a:endParaRPr lang="en-US" dirty="0"/>
          </a:p>
        </p:txBody>
      </p:sp>
    </p:spTree>
    <p:extLst>
      <p:ext uri="{BB962C8B-B14F-4D97-AF65-F5344CB8AC3E}">
        <p14:creationId xmlns:p14="http://schemas.microsoft.com/office/powerpoint/2010/main" val="9740966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5</a:t>
            </a:fld>
            <a:endParaRPr lang="en-US" dirty="0"/>
          </a:p>
        </p:txBody>
      </p:sp>
    </p:spTree>
    <p:extLst>
      <p:ext uri="{BB962C8B-B14F-4D97-AF65-F5344CB8AC3E}">
        <p14:creationId xmlns:p14="http://schemas.microsoft.com/office/powerpoint/2010/main" val="11552477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6</a:t>
            </a:fld>
            <a:endParaRPr lang="en-US" dirty="0"/>
          </a:p>
        </p:txBody>
      </p:sp>
    </p:spTree>
    <p:extLst>
      <p:ext uri="{BB962C8B-B14F-4D97-AF65-F5344CB8AC3E}">
        <p14:creationId xmlns:p14="http://schemas.microsoft.com/office/powerpoint/2010/main" val="150961581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16914020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8</a:t>
            </a:fld>
            <a:endParaRPr lang="en-US" dirty="0"/>
          </a:p>
        </p:txBody>
      </p:sp>
    </p:spTree>
    <p:extLst>
      <p:ext uri="{BB962C8B-B14F-4D97-AF65-F5344CB8AC3E}">
        <p14:creationId xmlns:p14="http://schemas.microsoft.com/office/powerpoint/2010/main" val="3999974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1EE05-E55D-ACCF-A4BF-944CAB7D17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04C17DF-4B79-9741-94FA-ADD7ADA321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526DE70-527B-C679-C1F8-8FC473A5977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3A2D2D72-F243-D267-B36E-E844EBA3EA5F}"/>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852240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9</a:t>
            </a:fld>
            <a:endParaRPr lang="en-US" dirty="0"/>
          </a:p>
        </p:txBody>
      </p:sp>
    </p:spTree>
    <p:extLst>
      <p:ext uri="{BB962C8B-B14F-4D97-AF65-F5344CB8AC3E}">
        <p14:creationId xmlns:p14="http://schemas.microsoft.com/office/powerpoint/2010/main" val="27340853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0</a:t>
            </a:fld>
            <a:endParaRPr lang="en-US" dirty="0"/>
          </a:p>
        </p:txBody>
      </p:sp>
    </p:spTree>
    <p:extLst>
      <p:ext uri="{BB962C8B-B14F-4D97-AF65-F5344CB8AC3E}">
        <p14:creationId xmlns:p14="http://schemas.microsoft.com/office/powerpoint/2010/main" val="75859413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1</a:t>
            </a:fld>
            <a:endParaRPr lang="en-US" dirty="0"/>
          </a:p>
        </p:txBody>
      </p:sp>
    </p:spTree>
    <p:extLst>
      <p:ext uri="{BB962C8B-B14F-4D97-AF65-F5344CB8AC3E}">
        <p14:creationId xmlns:p14="http://schemas.microsoft.com/office/powerpoint/2010/main" val="122082414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2</a:t>
            </a:fld>
            <a:endParaRPr lang="en-US" dirty="0"/>
          </a:p>
        </p:txBody>
      </p:sp>
    </p:spTree>
    <p:extLst>
      <p:ext uri="{BB962C8B-B14F-4D97-AF65-F5344CB8AC3E}">
        <p14:creationId xmlns:p14="http://schemas.microsoft.com/office/powerpoint/2010/main" val="326400664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3</a:t>
            </a:fld>
            <a:endParaRPr lang="en-US" dirty="0"/>
          </a:p>
        </p:txBody>
      </p:sp>
    </p:spTree>
    <p:extLst>
      <p:ext uri="{BB962C8B-B14F-4D97-AF65-F5344CB8AC3E}">
        <p14:creationId xmlns:p14="http://schemas.microsoft.com/office/powerpoint/2010/main" val="75377657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4</a:t>
            </a:fld>
            <a:endParaRPr lang="en-US" dirty="0"/>
          </a:p>
        </p:txBody>
      </p:sp>
    </p:spTree>
    <p:extLst>
      <p:ext uri="{BB962C8B-B14F-4D97-AF65-F5344CB8AC3E}">
        <p14:creationId xmlns:p14="http://schemas.microsoft.com/office/powerpoint/2010/main" val="6936552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5</a:t>
            </a:fld>
            <a:endParaRPr lang="en-US" dirty="0"/>
          </a:p>
        </p:txBody>
      </p:sp>
    </p:spTree>
    <p:extLst>
      <p:ext uri="{BB962C8B-B14F-4D97-AF65-F5344CB8AC3E}">
        <p14:creationId xmlns:p14="http://schemas.microsoft.com/office/powerpoint/2010/main" val="84685927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321987490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7</a:t>
            </a:fld>
            <a:endParaRPr lang="en-US" dirty="0"/>
          </a:p>
        </p:txBody>
      </p:sp>
    </p:spTree>
    <p:extLst>
      <p:ext uri="{BB962C8B-B14F-4D97-AF65-F5344CB8AC3E}">
        <p14:creationId xmlns:p14="http://schemas.microsoft.com/office/powerpoint/2010/main" val="25320923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1007434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1BAC8-10CA-F1B2-0B8B-65D8D9104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D6F41B-27D9-804A-9DEC-74F1D7EEE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4C515B-D2FD-9EBE-1867-8B577E9A24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E4DDED6-AE03-CC85-FD08-53D7A6D8D532}"/>
              </a:ext>
            </a:extLst>
          </p:cNvPr>
          <p:cNvSpPr>
            <a:spLocks noGrp="1"/>
          </p:cNvSpPr>
          <p:nvPr>
            <p:ph type="sldNum" sz="quarter" idx="5"/>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0624735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21232112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0</a:t>
            </a:fld>
            <a:endParaRPr lang="en-US" dirty="0"/>
          </a:p>
        </p:txBody>
      </p:sp>
    </p:spTree>
    <p:extLst>
      <p:ext uri="{BB962C8B-B14F-4D97-AF65-F5344CB8AC3E}">
        <p14:creationId xmlns:p14="http://schemas.microsoft.com/office/powerpoint/2010/main" val="336222156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1</a:t>
            </a:fld>
            <a:endParaRPr lang="en-US" dirty="0"/>
          </a:p>
        </p:txBody>
      </p:sp>
    </p:spTree>
    <p:extLst>
      <p:ext uri="{BB962C8B-B14F-4D97-AF65-F5344CB8AC3E}">
        <p14:creationId xmlns:p14="http://schemas.microsoft.com/office/powerpoint/2010/main" val="73920616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2</a:t>
            </a:fld>
            <a:endParaRPr lang="en-US" dirty="0"/>
          </a:p>
        </p:txBody>
      </p:sp>
    </p:spTree>
    <p:extLst>
      <p:ext uri="{BB962C8B-B14F-4D97-AF65-F5344CB8AC3E}">
        <p14:creationId xmlns:p14="http://schemas.microsoft.com/office/powerpoint/2010/main" val="30757888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397953297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358693415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5</a:t>
            </a:fld>
            <a:endParaRPr lang="en-US" dirty="0"/>
          </a:p>
        </p:txBody>
      </p:sp>
    </p:spTree>
    <p:extLst>
      <p:ext uri="{BB962C8B-B14F-4D97-AF65-F5344CB8AC3E}">
        <p14:creationId xmlns:p14="http://schemas.microsoft.com/office/powerpoint/2010/main" val="115308630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6</a:t>
            </a:fld>
            <a:endParaRPr lang="en-US" dirty="0"/>
          </a:p>
        </p:txBody>
      </p:sp>
    </p:spTree>
    <p:extLst>
      <p:ext uri="{BB962C8B-B14F-4D97-AF65-F5344CB8AC3E}">
        <p14:creationId xmlns:p14="http://schemas.microsoft.com/office/powerpoint/2010/main" val="34375121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87</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31654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357707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0CD"/>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314BAE-E977-C01D-6819-7C7289489012}"/>
              </a:ext>
            </a:extLst>
          </p:cNvPr>
          <p:cNvGraphicFramePr>
            <a:graphicFrameLocks noChangeAspect="1"/>
          </p:cNvGraphicFramePr>
          <p:nvPr userDrawn="1">
            <p:custDataLst>
              <p:tags r:id="rId1"/>
            </p:custDataLst>
            <p:extLst>
              <p:ext uri="{D42A27DB-BD31-4B8C-83A1-F6EECF244321}">
                <p14:modId xmlns:p14="http://schemas.microsoft.com/office/powerpoint/2010/main" val="13366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18314BAE-E977-C01D-6819-7C72894890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5">
            <a:extLst>
              <a:ext uri="{FF2B5EF4-FFF2-40B4-BE49-F238E27FC236}">
                <a16:creationId xmlns:a16="http://schemas.microsoft.com/office/drawing/2014/main" id="{AC8C457C-41E2-2A49-437F-BAFCC07F36A1}"/>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256802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コンテンツ">
    <p:bg>
      <p:bgPr>
        <a:solidFill>
          <a:srgbClr val="FFF0C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93E3F4-BBE8-091A-C9FF-72BCFEA15AE3}"/>
              </a:ext>
            </a:extLst>
          </p:cNvPr>
          <p:cNvGraphicFramePr>
            <a:graphicFrameLocks noChangeAspect="1"/>
          </p:cNvGraphicFramePr>
          <p:nvPr userDrawn="1">
            <p:custDataLst>
              <p:tags r:id="rId1"/>
            </p:custDataLst>
            <p:extLst>
              <p:ext uri="{D42A27DB-BD31-4B8C-83A1-F6EECF244321}">
                <p14:modId xmlns:p14="http://schemas.microsoft.com/office/powerpoint/2010/main" val="3194546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9493E3F4-BBE8-091A-C9FF-72BCFEA15A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0986CE2D-F644-DB58-2C45-19AA9FF3B9E4}"/>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566487" y="302026"/>
            <a:ext cx="11059026" cy="369332"/>
          </a:xfrm>
        </p:spPr>
        <p:txBody>
          <a:bodyPr vert="horz" wrap="square" lIns="0" tIns="0" rIns="0" bIns="0" rtlCol="0" anchor="t">
            <a:noAutofit/>
          </a:bodyPr>
          <a:lstStyle>
            <a:lvl1pPr>
              <a:defRPr lang="ja-JP" altLang="en-US" sz="2800" b="1" strike="noStrike" spc="0" baseline="0" dirty="0">
                <a:latin typeface="Trebuchet MS" panose="020B0603020202020204" pitchFamily="34" charset="0"/>
              </a:defRPr>
            </a:lvl1pPr>
          </a:lstStyle>
          <a:p>
            <a:pPr lvl="0">
              <a:spcBef>
                <a:spcPts val="0"/>
              </a:spcBef>
              <a:buFont typeface="Trebuchet MS" panose="020B0603020202020204" pitchFamily="34" charset="0"/>
              <a:buChar char="​"/>
            </a:pPr>
            <a:r>
              <a:rPr kumimoji="1" lang="ja-JP" altLang="en-US" dirty="0"/>
              <a:t>スライドタイトル</a:t>
            </a:r>
          </a:p>
        </p:txBody>
      </p:sp>
      <p:sp>
        <p:nvSpPr>
          <p:cNvPr id="6" name="スライド番号プレースホルダー 5">
            <a:extLst>
              <a:ext uri="{FF2B5EF4-FFF2-40B4-BE49-F238E27FC236}">
                <a16:creationId xmlns:a16="http://schemas.microsoft.com/office/drawing/2014/main" id="{17EBD1DA-40CA-03FE-E5D0-A34CB1FCB4DE}"/>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3151771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bg>
      <p:bgPr>
        <a:solidFill>
          <a:srgbClr val="FFF0CD"/>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E54119-32AE-19AD-6715-C2C4CAD94AF0}"/>
              </a:ext>
            </a:extLst>
          </p:cNvPr>
          <p:cNvGraphicFramePr>
            <a:graphicFrameLocks noChangeAspect="1"/>
          </p:cNvGraphicFramePr>
          <p:nvPr userDrawn="1">
            <p:custDataLst>
              <p:tags r:id="rId1"/>
            </p:custDataLst>
            <p:extLst>
              <p:ext uri="{D42A27DB-BD31-4B8C-83A1-F6EECF244321}">
                <p14:modId xmlns:p14="http://schemas.microsoft.com/office/powerpoint/2010/main" val="397084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2E54119-32AE-19AD-6715-C2C4CAD94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52DC4559-1E83-2999-6EDC-F2D776AD9E9F}"/>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7E23E11A-2B09-9F9F-909B-F04DEBE58C1D}"/>
              </a:ext>
            </a:extLst>
          </p:cNvPr>
          <p:cNvSpPr txBox="1"/>
          <p:nvPr userDrawn="1"/>
        </p:nvSpPr>
        <p:spPr>
          <a:xfrm>
            <a:off x="566487" y="302026"/>
            <a:ext cx="11059026" cy="369332"/>
          </a:xfrm>
          <a:prstGeom prst="rect">
            <a:avLst/>
          </a:prstGeom>
        </p:spPr>
        <p:txBody>
          <a:bodyPr vert="horz" wrap="square" lIns="0" tIns="0" rIns="0" bIns="0" rtlCol="0" anchor="t">
            <a:noAutofit/>
          </a:bodyPr>
          <a:lstStyle>
            <a:lvl1pPr defTabSz="914324">
              <a:lnSpc>
                <a:spcPct val="90000"/>
              </a:lnSpc>
              <a:spcBef>
                <a:spcPts val="0"/>
              </a:spcBef>
              <a:buFont typeface="Trebuchet MS" panose="020B0603020202020204" pitchFamily="34" charset="0"/>
              <a:buChar char="​"/>
              <a:defRPr kumimoji="1" lang="ja-JP" altLang="en-US" sz="2800" b="1" strike="noStrike" spc="0" baseline="0">
                <a:latin typeface="Trebuchet MS" panose="020B0603020202020204" pitchFamily="34" charset="0"/>
                <a:ea typeface="BIZ UDPゴシック" panose="020B0400000000000000" pitchFamily="50" charset="-128"/>
                <a:cs typeface="+mj-cs"/>
                <a:sym typeface="BIZ UDPゴシック" panose="020B0400000000000000" pitchFamily="50" charset="-128"/>
              </a:defRPr>
            </a:lvl1pPr>
          </a:lstStyle>
          <a:p>
            <a:pPr lvl="0"/>
            <a:r>
              <a:rPr lang="ja-JP" altLang="en-US" dirty="0">
                <a:sym typeface="BIZ UDPゴシック" panose="020B0400000000000000" pitchFamily="50" charset="-128"/>
              </a:rPr>
              <a:t>目次</a:t>
            </a:r>
          </a:p>
        </p:txBody>
      </p:sp>
      <p:sp>
        <p:nvSpPr>
          <p:cNvPr id="5" name="スライド番号プレースホルダー 5">
            <a:extLst>
              <a:ext uri="{FF2B5EF4-FFF2-40B4-BE49-F238E27FC236}">
                <a16:creationId xmlns:a16="http://schemas.microsoft.com/office/drawing/2014/main" id="{78041956-AE6D-52BC-678E-60BCF6C0C7D9}"/>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defRPr lang="ja-JP" altLang="en-US" sz="1600" smtClean="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en-US" altLang="ja-JP" smtClean="0"/>
              <a:pPr/>
              <a:t>‹#›</a:t>
            </a:fld>
            <a:endParaRPr lang="en-US" dirty="0"/>
          </a:p>
        </p:txBody>
      </p:sp>
    </p:spTree>
    <p:extLst>
      <p:ext uri="{BB962C8B-B14F-4D97-AF65-F5344CB8AC3E}">
        <p14:creationId xmlns:p14="http://schemas.microsoft.com/office/powerpoint/2010/main" val="1888111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コンテンツ">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685BC9-2B07-9605-FBAE-F80ECD8D883E}"/>
              </a:ext>
            </a:extLst>
          </p:cNvPr>
          <p:cNvGraphicFramePr>
            <a:graphicFrameLocks noChangeAspect="1"/>
          </p:cNvGraphicFramePr>
          <p:nvPr userDrawn="1">
            <p:custDataLst>
              <p:tags r:id="rId1"/>
            </p:custDataLst>
            <p:extLst>
              <p:ext uri="{D42A27DB-BD31-4B8C-83A1-F6EECF244321}">
                <p14:modId xmlns:p14="http://schemas.microsoft.com/office/powerpoint/2010/main" val="269032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5685BC9-2B07-9605-FBAE-F80ECD8D8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660400" y="404261"/>
            <a:ext cx="10871200" cy="328231"/>
          </a:xfrm>
        </p:spPr>
        <p:txBody>
          <a:bodyPr vert="horz" wrap="none" anchor="t">
            <a:noAutofit/>
          </a:bodyPr>
          <a:lstStyle>
            <a:lvl1pPr marL="0" indent="0">
              <a:lnSpc>
                <a:spcPct val="100000"/>
              </a:lnSpc>
              <a:defRPr sz="2800" b="1" strike="noStrike" spc="67" baseline="0">
                <a:latin typeface="UD デジタル 教科書体 NK-R" panose="02020400000000000000" pitchFamily="18" charset="-128"/>
                <a:ea typeface="UD デジタル 教科書体 NK-R" panose="02020400000000000000" pitchFamily="18" charset="-128"/>
                <a:sym typeface="UD デジタル 教科書体 NK-R" panose="02020400000000000000" pitchFamily="18" charset="-128"/>
              </a:defRPr>
            </a:lvl1pPr>
          </a:lstStyle>
          <a:p>
            <a:r>
              <a:rPr kumimoji="1" lang="ja-JP" altLang="en-US"/>
              <a:t>スライドタイトル</a:t>
            </a:r>
          </a:p>
        </p:txBody>
      </p:sp>
    </p:spTree>
    <p:extLst>
      <p:ext uri="{BB962C8B-B14F-4D97-AF65-F5344CB8AC3E}">
        <p14:creationId xmlns:p14="http://schemas.microsoft.com/office/powerpoint/2010/main" val="473220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100F7-B280-7001-7E62-AFB7F1D672EB}"/>
              </a:ext>
            </a:extLst>
          </p:cNvPr>
          <p:cNvGraphicFramePr>
            <a:graphicFrameLocks noChangeAspect="1"/>
          </p:cNvGraphicFramePr>
          <p:nvPr userDrawn="1">
            <p:custDataLst>
              <p:tags r:id="rId6"/>
            </p:custDataLst>
            <p:extLst>
              <p:ext uri="{D42A27DB-BD31-4B8C-83A1-F6EECF244321}">
                <p14:modId xmlns:p14="http://schemas.microsoft.com/office/powerpoint/2010/main" val="675333100"/>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7" name="think-cell data - do not delete" hidden="1">
                        <a:extLst>
                          <a:ext uri="{FF2B5EF4-FFF2-40B4-BE49-F238E27FC236}">
                            <a16:creationId xmlns:a16="http://schemas.microsoft.com/office/drawing/2014/main" id="{ACB100F7-B280-7001-7E62-AFB7F1D672EB}"/>
                          </a:ext>
                        </a:extLst>
                      </p:cNvPr>
                      <p:cNvPicPr/>
                      <p:nvPr/>
                    </p:nvPicPr>
                    <p:blipFill>
                      <a:blip r:embed="rId8"/>
                      <a:stretch>
                        <a:fillRect/>
                      </a:stretch>
                    </p:blipFill>
                    <p:spPr>
                      <a:xfrm>
                        <a:off x="1059" y="1059"/>
                        <a:ext cx="1059" cy="1059"/>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9C578407-FAC7-4FE8-A10F-2A6AD74C6647}"/>
              </a:ext>
            </a:extLst>
          </p:cNvPr>
          <p:cNvSpPr>
            <a:spLocks noGrp="1"/>
          </p:cNvSpPr>
          <p:nvPr>
            <p:ph type="title"/>
          </p:nvPr>
        </p:nvSpPr>
        <p:spPr>
          <a:xfrm>
            <a:off x="742994" y="492030"/>
            <a:ext cx="10706057" cy="443266"/>
          </a:xfrm>
          <a:prstGeom prst="rect">
            <a:avLst/>
          </a:prstGeom>
        </p:spPr>
        <p:txBody>
          <a:bodyPr vert="horz" wrap="square" lIns="0" tIns="0" rIns="0" bIns="0" rtlCol="0" anchor="ctr">
            <a:sp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E839F340-960B-4B16-9001-CCE8F344B1E4}"/>
              </a:ext>
            </a:extLst>
          </p:cNvPr>
          <p:cNvSpPr>
            <a:spLocks noGrp="1"/>
          </p:cNvSpPr>
          <p:nvPr>
            <p:ph type="body" idx="1"/>
          </p:nvPr>
        </p:nvSpPr>
        <p:spPr>
          <a:xfrm>
            <a:off x="742994" y="1304860"/>
            <a:ext cx="10706056" cy="5008608"/>
          </a:xfrm>
          <a:prstGeom prst="rect">
            <a:avLst/>
          </a:prstGeom>
        </p:spPr>
        <p:txBody>
          <a:bodyPr vert="horz" wrap="square"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40ED5E15-D26E-E892-9D92-C57E44282E16}"/>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2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895845766"/>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66" r:id="rId4"/>
  </p:sldLayoutIdLst>
  <p:hf hdr="0" ftr="0" dt="0"/>
  <p:txStyles>
    <p:titleStyle>
      <a:lvl1pPr algn="l" defTabSz="914324" rtl="0" eaLnBrk="1" latinLnBrk="0" hangingPunct="1">
        <a:lnSpc>
          <a:spcPct val="90000"/>
        </a:lnSpc>
        <a:spcBef>
          <a:spcPct val="0"/>
        </a:spcBef>
        <a:buNone/>
        <a:defRPr kumimoji="1" sz="3200" kern="120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p:titleStyle>
    <p:bodyStyle>
      <a:lvl1pPr marL="288014" indent="-360018" algn="l" defTabSz="914324" rtl="0" eaLnBrk="1" latinLnBrk="0" hangingPunct="1">
        <a:lnSpc>
          <a:spcPct val="130000"/>
        </a:lnSpc>
        <a:spcBef>
          <a:spcPts val="2347"/>
        </a:spcBef>
        <a:spcAft>
          <a:spcPts val="2347"/>
        </a:spcAft>
        <a:buClr>
          <a:schemeClr val="accent1"/>
        </a:buClr>
        <a:buFont typeface="Wingdings" panose="05000000000000000000" pitchFamily="2" charset="2"/>
        <a:buChar char="l"/>
        <a:defRPr kumimoji="1" sz="24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685743"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1142904"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1600067"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2057229"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514390"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553"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8714"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5876"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324" rtl="0" eaLnBrk="1" latinLnBrk="0" hangingPunct="1">
        <a:defRPr kumimoji="1" sz="1800" kern="1200">
          <a:solidFill>
            <a:schemeClr val="tx1"/>
          </a:solidFill>
          <a:latin typeface="+mn-lt"/>
          <a:ea typeface="+mn-ea"/>
          <a:cs typeface="+mn-cs"/>
        </a:defRPr>
      </a:lvl1pPr>
      <a:lvl2pPr marL="457162" algn="l" defTabSz="914324" rtl="0" eaLnBrk="1" latinLnBrk="0" hangingPunct="1">
        <a:defRPr kumimoji="1" sz="1800" kern="1200">
          <a:solidFill>
            <a:schemeClr val="tx1"/>
          </a:solidFill>
          <a:latin typeface="+mn-lt"/>
          <a:ea typeface="+mn-ea"/>
          <a:cs typeface="+mn-cs"/>
        </a:defRPr>
      </a:lvl2pPr>
      <a:lvl3pPr marL="914324" algn="l" defTabSz="914324" rtl="0" eaLnBrk="1" latinLnBrk="0" hangingPunct="1">
        <a:defRPr kumimoji="1" sz="1800" kern="1200">
          <a:solidFill>
            <a:schemeClr val="tx1"/>
          </a:solidFill>
          <a:latin typeface="+mn-lt"/>
          <a:ea typeface="+mn-ea"/>
          <a:cs typeface="+mn-cs"/>
        </a:defRPr>
      </a:lvl3pPr>
      <a:lvl4pPr marL="1371486" algn="l" defTabSz="914324" rtl="0" eaLnBrk="1" latinLnBrk="0" hangingPunct="1">
        <a:defRPr kumimoji="1" sz="1800" kern="1200">
          <a:solidFill>
            <a:schemeClr val="tx1"/>
          </a:solidFill>
          <a:latin typeface="+mn-lt"/>
          <a:ea typeface="+mn-ea"/>
          <a:cs typeface="+mn-cs"/>
        </a:defRPr>
      </a:lvl4pPr>
      <a:lvl5pPr marL="1828647" algn="l" defTabSz="914324" rtl="0" eaLnBrk="1" latinLnBrk="0" hangingPunct="1">
        <a:defRPr kumimoji="1" sz="1800" kern="1200">
          <a:solidFill>
            <a:schemeClr val="tx1"/>
          </a:solidFill>
          <a:latin typeface="+mn-lt"/>
          <a:ea typeface="+mn-ea"/>
          <a:cs typeface="+mn-cs"/>
        </a:defRPr>
      </a:lvl5pPr>
      <a:lvl6pPr marL="2285810" algn="l" defTabSz="914324" rtl="0" eaLnBrk="1" latinLnBrk="0" hangingPunct="1">
        <a:defRPr kumimoji="1" sz="1800" kern="1200">
          <a:solidFill>
            <a:schemeClr val="tx1"/>
          </a:solidFill>
          <a:latin typeface="+mn-lt"/>
          <a:ea typeface="+mn-ea"/>
          <a:cs typeface="+mn-cs"/>
        </a:defRPr>
      </a:lvl6pPr>
      <a:lvl7pPr marL="2742971" algn="l" defTabSz="914324" rtl="0" eaLnBrk="1" latinLnBrk="0" hangingPunct="1">
        <a:defRPr kumimoji="1" sz="1800" kern="1200">
          <a:solidFill>
            <a:schemeClr val="tx1"/>
          </a:solidFill>
          <a:latin typeface="+mn-lt"/>
          <a:ea typeface="+mn-ea"/>
          <a:cs typeface="+mn-cs"/>
        </a:defRPr>
      </a:lvl7pPr>
      <a:lvl8pPr marL="3200133" algn="l" defTabSz="914324" rtl="0" eaLnBrk="1" latinLnBrk="0" hangingPunct="1">
        <a:defRPr kumimoji="1" sz="1800" kern="1200">
          <a:solidFill>
            <a:schemeClr val="tx1"/>
          </a:solidFill>
          <a:latin typeface="+mn-lt"/>
          <a:ea typeface="+mn-ea"/>
          <a:cs typeface="+mn-cs"/>
        </a:defRPr>
      </a:lvl8pPr>
      <a:lvl9pPr marL="3657295" algn="l" defTabSz="914324"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9">
          <p15:clr>
            <a:srgbClr val="F26B43"/>
          </p15:clr>
        </p15:guide>
        <p15:guide id="2" pos="5760">
          <p15:clr>
            <a:srgbClr val="F26B43"/>
          </p15:clr>
        </p15:guide>
        <p15:guide id="3" pos="702">
          <p15:clr>
            <a:srgbClr val="F26B43"/>
          </p15:clr>
        </p15:guide>
        <p15:guide id="4" pos="10818">
          <p15:clr>
            <a:srgbClr val="F26B43"/>
          </p15:clr>
        </p15:guide>
        <p15:guide id="5" orient="horz" pos="450">
          <p15:clr>
            <a:srgbClr val="F26B43"/>
          </p15:clr>
        </p15:guide>
        <p15:guide id="6" orient="horz" pos="60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34.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67.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74.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75.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77.x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78.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87.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88.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68.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image" Target="../media/image69.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image" Target="../media/image70.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92.xml"/><Relationship Id="rId6" Type="http://schemas.openxmlformats.org/officeDocument/2006/relationships/image" Target="../media/image71.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72.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94.xml"/><Relationship Id="rId6" Type="http://schemas.openxmlformats.org/officeDocument/2006/relationships/image" Target="../media/image73.jp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95.xml"/><Relationship Id="rId6" Type="http://schemas.openxmlformats.org/officeDocument/2006/relationships/image" Target="../media/image74.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image" Target="../media/image75.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97.xml"/><Relationship Id="rId6" Type="http://schemas.openxmlformats.org/officeDocument/2006/relationships/image" Target="../media/image76.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77.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99.xml"/><Relationship Id="rId6" Type="http://schemas.openxmlformats.org/officeDocument/2006/relationships/image" Target="../media/image78.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xml"/><Relationship Id="rId1" Type="http://schemas.openxmlformats.org/officeDocument/2006/relationships/tags" Target="../tags/tag100.xml"/><Relationship Id="rId6" Type="http://schemas.openxmlformats.org/officeDocument/2006/relationships/image" Target="../media/image79.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5.emf"/><Relationship Id="rId3" Type="http://schemas.openxmlformats.org/officeDocument/2006/relationships/tags" Target="../tags/tag18.xml"/><Relationship Id="rId21" Type="http://schemas.openxmlformats.org/officeDocument/2006/relationships/image" Target="../media/image8.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13.bin"/><Relationship Id="rId2" Type="http://schemas.openxmlformats.org/officeDocument/2006/relationships/tags" Target="../tags/tag17.xml"/><Relationship Id="rId16" Type="http://schemas.openxmlformats.org/officeDocument/2006/relationships/notesSlide" Target="../notesSlides/notesSlide8.xml"/><Relationship Id="rId20" Type="http://schemas.openxmlformats.org/officeDocument/2006/relationships/image" Target="../media/image7.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slideLayout" Target="../slideLayouts/slideLayout2.xml"/><Relationship Id="rId10" Type="http://schemas.openxmlformats.org/officeDocument/2006/relationships/tags" Target="../tags/tag25.xml"/><Relationship Id="rId19" Type="http://schemas.openxmlformats.org/officeDocument/2006/relationships/image" Target="../media/image6.pn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9.sv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image" Target="../media/image80.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xml"/><Relationship Id="rId1" Type="http://schemas.openxmlformats.org/officeDocument/2006/relationships/tags" Target="../tags/tag102.xml"/><Relationship Id="rId6" Type="http://schemas.openxmlformats.org/officeDocument/2006/relationships/image" Target="../media/image81.jp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xml"/><Relationship Id="rId1" Type="http://schemas.openxmlformats.org/officeDocument/2006/relationships/tags" Target="../tags/tag103.xml"/><Relationship Id="rId6" Type="http://schemas.openxmlformats.org/officeDocument/2006/relationships/image" Target="../media/image82.jp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image" Target="../media/image83.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image" Target="../media/image84.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106.xml"/><Relationship Id="rId6" Type="http://schemas.openxmlformats.org/officeDocument/2006/relationships/image" Target="../media/image85.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image" Target="../media/image86.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image" Target="../media/image87.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ags" Target="../tags/tag109.xml"/><Relationship Id="rId6" Type="http://schemas.openxmlformats.org/officeDocument/2006/relationships/image" Target="../media/image88.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F5950-DD41-E5EE-432C-D05FFF64AAD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A81CCE-F54F-F7B0-46E4-93C00C7B172D}"/>
              </a:ext>
            </a:extLst>
          </p:cNvPr>
          <p:cNvGraphicFramePr>
            <a:graphicFrameLocks noChangeAspect="1"/>
          </p:cNvGraphicFramePr>
          <p:nvPr>
            <p:custDataLst>
              <p:tags r:id="rId1"/>
            </p:custDataLst>
            <p:extLst>
              <p:ext uri="{D42A27DB-BD31-4B8C-83A1-F6EECF244321}">
                <p14:modId xmlns:p14="http://schemas.microsoft.com/office/powerpoint/2010/main" val="156454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27A81CCE-F54F-F7B0-46E4-93C00C7B1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artoon of people sitting in circle&#10;&#10;AI-generated content may be incorrect.">
            <a:extLst>
              <a:ext uri="{FF2B5EF4-FFF2-40B4-BE49-F238E27FC236}">
                <a16:creationId xmlns:a16="http://schemas.microsoft.com/office/drawing/2014/main" id="{4803AF68-D459-99D5-A709-CE75BC9F7A6A}"/>
              </a:ext>
            </a:extLst>
          </p:cNvPr>
          <p:cNvPicPr>
            <a:picLocks noChangeAspect="1"/>
          </p:cNvPicPr>
          <p:nvPr/>
        </p:nvPicPr>
        <p:blipFill>
          <a:blip r:embed="rId6"/>
          <a:stretch>
            <a:fillRect/>
          </a:stretch>
        </p:blipFill>
        <p:spPr>
          <a:xfrm>
            <a:off x="965" y="0"/>
            <a:ext cx="12190070" cy="6858000"/>
          </a:xfrm>
          <a:prstGeom prst="rect">
            <a:avLst/>
          </a:prstGeom>
        </p:spPr>
      </p:pic>
      <p:sp>
        <p:nvSpPr>
          <p:cNvPr id="7" name="Rectangle 1">
            <a:extLst>
              <a:ext uri="{FF2B5EF4-FFF2-40B4-BE49-F238E27FC236}">
                <a16:creationId xmlns:a16="http://schemas.microsoft.com/office/drawing/2014/main" id="{AB6A7290-A617-EDF1-4F91-D28B9D8E8EEF}"/>
              </a:ext>
            </a:extLst>
          </p:cNvPr>
          <p:cNvSpPr/>
          <p:nvPr/>
        </p:nvSpPr>
        <p:spPr bwMode="gray">
          <a:xfrm>
            <a:off x="-774" y="5495278"/>
            <a:ext cx="12192774" cy="1362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4000" b="1"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講師用ガイドライン</a:t>
            </a:r>
          </a:p>
        </p:txBody>
      </p:sp>
      <p:sp>
        <p:nvSpPr>
          <p:cNvPr id="9" name="楕円 8">
            <a:extLst>
              <a:ext uri="{FF2B5EF4-FFF2-40B4-BE49-F238E27FC236}">
                <a16:creationId xmlns:a16="http://schemas.microsoft.com/office/drawing/2014/main" id="{B7E57C46-450C-8A43-0F54-95CD6A0B5B2A}"/>
              </a:ext>
            </a:extLst>
          </p:cNvPr>
          <p:cNvSpPr/>
          <p:nvPr/>
        </p:nvSpPr>
        <p:spPr bwMode="gray">
          <a:xfrm>
            <a:off x="9144022" y="5683485"/>
            <a:ext cx="2539013" cy="986308"/>
          </a:xfrm>
          <a:prstGeom prst="ellipse">
            <a:avLst/>
          </a:prstGeom>
          <a:solidFill>
            <a:srgbClr val="7D6DAB"/>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シニア</a:t>
            </a:r>
            <a:br>
              <a:rPr kumimoji="1" lang="en-US" altLang="ja-JP"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向け講座</a:t>
            </a:r>
            <a:endParaRPr kumimoji="1" lang="en-US" sz="2400" dirty="0">
              <a:solidFill>
                <a:srgbClr val="FFFFFF"/>
              </a:solidFill>
            </a:endParaRPr>
          </a:p>
        </p:txBody>
      </p:sp>
    </p:spTree>
    <p:extLst>
      <p:ext uri="{BB962C8B-B14F-4D97-AF65-F5344CB8AC3E}">
        <p14:creationId xmlns:p14="http://schemas.microsoft.com/office/powerpoint/2010/main" val="2534155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5774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sym typeface="BIZ UDPゴシック" panose="020B0400000000000000" pitchFamily="50" charset="-128"/>
              </a:rPr>
              <a:t>講師の説明例文</a:t>
            </a:r>
            <a:r>
              <a:rPr lang="en-US" altLang="ja-JP" dirty="0"/>
              <a:t>(</a:t>
            </a:r>
            <a:r>
              <a:rPr lang="ja-JP" altLang="en-US" dirty="0"/>
              <a:t>教材 </a:t>
            </a:r>
            <a:r>
              <a:rPr lang="en-US" altLang="ja-JP" dirty="0"/>
              <a:t>P1)</a:t>
            </a:r>
            <a:endParaRPr lang="en-US" dirty="0">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sym typeface="BIZ UDPゴシック" panose="020B0400000000000000" pitchFamily="50" charset="-128"/>
              </a:rPr>
              <a:pPr/>
              <a:t>9</a:t>
            </a:fld>
            <a:endParaRPr lang="ja-JP" altLang="en-US">
              <a:sym typeface="BIZ UDPゴシック" panose="020B0400000000000000" pitchFamily="50" charset="-128"/>
            </a:endParaRPr>
          </a:p>
        </p:txBody>
      </p:sp>
      <p:sp>
        <p:nvSpPr>
          <p:cNvPr id="8" name="Rectangle: Rounded Corners 7">
            <a:extLst>
              <a:ext uri="{FF2B5EF4-FFF2-40B4-BE49-F238E27FC236}">
                <a16:creationId xmlns:a16="http://schemas.microsoft.com/office/drawing/2014/main" id="{057D9EE4-70B6-28A5-033D-C8BF516CEB4D}"/>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AA8D0AC-D153-1E74-3C0D-FCCBD23B26AB}"/>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23">
            <a:extLst>
              <a:ext uri="{FF2B5EF4-FFF2-40B4-BE49-F238E27FC236}">
                <a16:creationId xmlns:a16="http://schemas.microsoft.com/office/drawing/2014/main" id="{C650F774-9C1E-023D-4306-2F6407EAB22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2" name="Picture 11">
            <a:extLst>
              <a:ext uri="{FF2B5EF4-FFF2-40B4-BE49-F238E27FC236}">
                <a16:creationId xmlns:a16="http://schemas.microsoft.com/office/drawing/2014/main" id="{8031EA0D-7C5E-1BBA-9DEE-5873A8C36A03}"/>
              </a:ext>
            </a:extLst>
          </p:cNvPr>
          <p:cNvPicPr>
            <a:picLocks noChangeAspect="1"/>
          </p:cNvPicPr>
          <p:nvPr/>
        </p:nvPicPr>
        <p:blipFill>
          <a:blip r:embed="rId6"/>
          <a:stretch>
            <a:fillRect/>
          </a:stretch>
        </p:blipFill>
        <p:spPr>
          <a:xfrm>
            <a:off x="640348" y="1307368"/>
            <a:ext cx="4502176" cy="2532157"/>
          </a:xfrm>
          <a:prstGeom prst="rect">
            <a:avLst/>
          </a:prstGeom>
        </p:spPr>
      </p:pic>
      <p:sp>
        <p:nvSpPr>
          <p:cNvPr id="13" name="TextBox 12">
            <a:extLst>
              <a:ext uri="{FF2B5EF4-FFF2-40B4-BE49-F238E27FC236}">
                <a16:creationId xmlns:a16="http://schemas.microsoft.com/office/drawing/2014/main" id="{4A5A5439-1C02-1701-3231-3A67530DE2C7}"/>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最近では、スマホやパソコンを使うことが当たり前になり、多くの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簡単に手に入るようになりました。しかし、その一方で、ニセ・誤情報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誹謗中傷などのトラブルに遭遇することもあります。一人ひとり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ＩＣＴリテラシーを身につけることで、安心できる情報社会をつくり、守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では、</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活用し、課題を解決できるようになること、</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責任ある行動がとれ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柔軟に対応でき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目指しています。</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Rectangle: Rounded Corners 1">
            <a:extLst>
              <a:ext uri="{FF2B5EF4-FFF2-40B4-BE49-F238E27FC236}">
                <a16:creationId xmlns:a16="http://schemas.microsoft.com/office/drawing/2014/main" id="{BC242296-26C4-9C5B-7CBD-065D0CE2215D}"/>
              </a:ext>
            </a:extLst>
          </p:cNvPr>
          <p:cNvSpPr/>
          <p:nvPr/>
        </p:nvSpPr>
        <p:spPr bwMode="gray">
          <a:xfrm>
            <a:off x="5576552" y="411242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76289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9500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23">
            <a:extLst>
              <a:ext uri="{FF2B5EF4-FFF2-40B4-BE49-F238E27FC236}">
                <a16:creationId xmlns:a16="http://schemas.microsoft.com/office/drawing/2014/main" id="{B3EA5E64-8C6A-21E7-78F8-EB9DE0B14AA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8" name="Picture 7">
            <a:extLst>
              <a:ext uri="{FF2B5EF4-FFF2-40B4-BE49-F238E27FC236}">
                <a16:creationId xmlns:a16="http://schemas.microsoft.com/office/drawing/2014/main" id="{885710D3-C0F1-47CE-A218-5E9C5E2FFEC3}"/>
              </a:ext>
            </a:extLst>
          </p:cNvPr>
          <p:cNvPicPr>
            <a:picLocks noChangeAspect="1"/>
          </p:cNvPicPr>
          <p:nvPr/>
        </p:nvPicPr>
        <p:blipFill>
          <a:blip r:embed="rId6"/>
          <a:stretch>
            <a:fillRect/>
          </a:stretch>
        </p:blipFill>
        <p:spPr>
          <a:xfrm>
            <a:off x="640347" y="1307368"/>
            <a:ext cx="4502386" cy="2532157"/>
          </a:xfrm>
          <a:prstGeom prst="rect">
            <a:avLst/>
          </a:prstGeom>
        </p:spPr>
      </p:pic>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2)</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10</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BBD645E8-A89C-4CDB-BE20-B4A7D1878557}"/>
              </a:ext>
            </a:extLst>
          </p:cNvPr>
          <p:cNvSpPr txBox="1"/>
          <p:nvPr/>
        </p:nvSpPr>
        <p:spPr>
          <a:xfrm>
            <a:off x="5576552" y="1231714"/>
            <a:ext cx="6278451" cy="228370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はじめに、身の回りで起きた出来事について少し考えてみ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ください。みなさんは、インターネットを使っていて、はっとしたこと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い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b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誤って投稿した写真が、すぐに消したはずなの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地域の人に広まってしまった」、「流れてきた動画が面白く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やめられなくなった」、などといったことはなかったでしょうか？</a:t>
            </a: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うしたはっとした体験は、デジタル空間のどんな特徴からくるも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のでしょうか？</a:t>
            </a:r>
          </a:p>
        </p:txBody>
      </p:sp>
      <p:sp>
        <p:nvSpPr>
          <p:cNvPr id="14" name="Rectangle: Rounded Corners 1">
            <a:extLst>
              <a:ext uri="{FF2B5EF4-FFF2-40B4-BE49-F238E27FC236}">
                <a16:creationId xmlns:a16="http://schemas.microsoft.com/office/drawing/2014/main" id="{76E5E9FC-D2F7-C031-848E-F06C1EB4DFBF}"/>
              </a:ext>
            </a:extLst>
          </p:cNvPr>
          <p:cNvSpPr/>
          <p:nvPr/>
        </p:nvSpPr>
        <p:spPr bwMode="gray">
          <a:xfrm>
            <a:off x="5576552" y="358806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A411A0F3-9D3E-36E9-875C-769410A1CBCD}"/>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D1D72220-157F-F811-955F-3284F042DE70}"/>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0" name="Rectangle 9">
              <a:extLst>
                <a:ext uri="{FF2B5EF4-FFF2-40B4-BE49-F238E27FC236}">
                  <a16:creationId xmlns:a16="http://schemas.microsoft.com/office/drawing/2014/main" id="{95AC96C8-BA87-D56D-3FE9-3F11BCA34773}"/>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講義の冒頭に身近な体験について問いかけることで、自分ごととして捉えやすくし、興味を持って学習に取り組める</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ようにし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他にもどんな体験がありますか？」などと問いかけ、ウォーミングアップとしても利用ください。</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FDE7E6E0-F83D-8A26-43CE-4A6A023F46F6}"/>
                </a:ext>
              </a:extLst>
            </p:cNvPr>
            <p:cNvGrpSpPr/>
            <p:nvPr/>
          </p:nvGrpSpPr>
          <p:grpSpPr bwMode="blackGray">
            <a:xfrm>
              <a:off x="566487" y="4876800"/>
              <a:ext cx="2938713" cy="378884"/>
              <a:chOff x="566487" y="4826000"/>
              <a:chExt cx="2938713" cy="378884"/>
            </a:xfrm>
          </p:grpSpPr>
          <p:sp>
            <p:nvSpPr>
              <p:cNvPr id="12" name="Rectangle: Rounded Corners 11">
                <a:extLst>
                  <a:ext uri="{FF2B5EF4-FFF2-40B4-BE49-F238E27FC236}">
                    <a16:creationId xmlns:a16="http://schemas.microsoft.com/office/drawing/2014/main" id="{5D0AA895-0746-62E2-3822-E0E2AB10B2EC}"/>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3" name="Group 12">
                <a:extLst>
                  <a:ext uri="{FF2B5EF4-FFF2-40B4-BE49-F238E27FC236}">
                    <a16:creationId xmlns:a16="http://schemas.microsoft.com/office/drawing/2014/main" id="{9659231B-CE5F-A605-2EB5-5CADD4B424BE}"/>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807BED1E-04F3-872E-BAFF-D96D6D2E36CE}"/>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D9CCD0F4-261B-2C8D-3F8F-5A78F5423F54}"/>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7A3F064A-54E4-9AFE-08F4-0FC193FB3A5B}"/>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42480DCB-F926-D81A-1080-2E03FFDD3C1F}"/>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059436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90793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方で、インターネットは、私たちの学びや生活をより便利に、そして楽しくしてくれる可能性がたくさんあります。みなさんもインターネット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使っていて、こんなことができたらいいな、と思ったことはないでしょう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調べたいことの答えに、もっと早くたどり着けるようになりた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遠くに住む孫たちと、顔を見ながら会話したい」という思い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るかもしれません。</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身につけ、安心・安全に、インターネットを便利に活用するにはどうしたらいいのか、一緒に考え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9536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4" name="Picture 13">
            <a:extLst>
              <a:ext uri="{FF2B5EF4-FFF2-40B4-BE49-F238E27FC236}">
                <a16:creationId xmlns:a16="http://schemas.microsoft.com/office/drawing/2014/main" id="{FF18B49A-43AB-499D-A4C1-88C30FBD9B45}"/>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823077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21194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は大き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の分野で構成され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１つめは「取得管理」する能力です。適切な情報の検索・保管方法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び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つめは「安全確保」の能力です。デジタル空間に潜むトラブルから</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や周囲の人を守る力を身につけ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つめは「他者・社会とのコラボ」の能力です。デジタル技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ミュニケーションの幅が広がることを理解し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４つめは「作成編集」の能力です。デジタル技術を活用すると、文章や画像、動画などさまざまなコンテンツを作成できます。新しくできるようになったことを理解してみ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最後の５つめは、「活用」の能力です。身の回りのさまざまな悩みや社会</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課題をデジタルを使って解決する力を身につけ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35881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12">
            <a:extLst>
              <a:ext uri="{FF2B5EF4-FFF2-40B4-BE49-F238E27FC236}">
                <a16:creationId xmlns:a16="http://schemas.microsoft.com/office/drawing/2014/main" id="{66A44FD4-B646-45F4-B040-DD9F4759BF78}"/>
              </a:ext>
            </a:extLst>
          </p:cNvPr>
          <p:cNvSpPr/>
          <p:nvPr/>
        </p:nvSpPr>
        <p:spPr bwMode="blackGray">
          <a:xfrm>
            <a:off x="0" y="50800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918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どれか</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つが身につけばいいのではなく、５つの領域をバランスよく身につけることが大切であることを強調し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9403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pic>
        <p:nvPicPr>
          <p:cNvPr id="23" name="Picture 22">
            <a:extLst>
              <a:ext uri="{FF2B5EF4-FFF2-40B4-BE49-F238E27FC236}">
                <a16:creationId xmlns:a16="http://schemas.microsoft.com/office/drawing/2014/main" id="{92C1FBBF-CDAB-44CF-A3E8-597E5DF0B6DE}"/>
              </a:ext>
            </a:extLst>
          </p:cNvPr>
          <p:cNvPicPr>
            <a:picLocks noChangeAspect="1"/>
          </p:cNvPicPr>
          <p:nvPr/>
        </p:nvPicPr>
        <p:blipFill rotWithShape="1">
          <a:blip r:embed="rId6"/>
          <a:srcRect l="973" t="961" r="95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668349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6992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では、５つの分野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幅広く身につけられるよ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５つのパートに分けて学んでい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各パートにおいて、</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空間の特徴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自分の身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周りの人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社会に与えるリスク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技術をもっと便利に活用できるようになるこ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学びのゴールとし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らのゴールを達成して、デジタル空間での責任ある行動を知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より便利に使いこな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11242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6CA50BA1-C68F-4679-8E15-07E66E9D91B7}"/>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37175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0701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れでは、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入り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パートでは、デジタル空間の特徴を学んでい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74808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デジタル空間の特徴を学ぶことで新しい課題に出会っても柔軟に対応できる力を身につけてもらうことを目指しています。</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教材内で紹介しているトラブルやリスク事例が、デジタル空間のどんな特徴から起こるものなのか、紐づけて説明する</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ことを意識し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3F38A76C-1605-4713-999E-D8C7B27CEED1}"/>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976762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0966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デジタル空間にどのような特徴があるか知っています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正解は各章の最後に掲載され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74808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クイズに正解することが目的ではなく、何が入るのだろう？と考えてもらいながら学習することで、より興味を持って</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学習を進めてもらうことが大切です。</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E8506E1F-D9EC-45D7-A560-D10F854D0DA6}"/>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71514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3516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360920"/>
          </a:xfrm>
          <a:prstGeom prst="rect">
            <a:avLst/>
          </a:prstGeom>
          <a:noFill/>
        </p:spPr>
        <p:txBody>
          <a:bodyPr wrap="square" lIns="0" tIns="0" rIns="0" bIns="0" rtlCol="0">
            <a:spAutoFit/>
          </a:bodyPr>
          <a:lstStyle/>
          <a:p>
            <a:pPr>
              <a:lnSpc>
                <a:spcPct val="12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デジタル空間には、５つの特徴がありま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保存性」です。一度投稿した情報は、完全に消し去ることが難しく、</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残り続けるという特徴で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匿名性」です。インターネット上では、年齢や性別などの個人情報を出さずに、自由に情報を発信することが可能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パーソナライズ」です。あなたの過去の検索、閲覧の履歴などから、</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なたが興味を持ちそうな内容を優先して表示させる仕組みがありま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エコーチェンバー・フィルターバブル」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同じような情報が繰り返し表示される特徴があり、</a:t>
            </a:r>
            <a:b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それによって自分の考えが偏ってしまうことが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最後に「アテンション・エコノミー」です。インターネット上では、興味や関心、</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注目 </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をアテンション、といいます</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をひくような情報によって、クリックを促し、</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より多くの広告をみたり、サービスを使ってもらおうとするネット上のしくみが</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らの特徴を知ることで、新しいデジタル技術が登場しても、リスクやトラブルに</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対して自主的に対応できるようになり、便利に使いこなせる力を育むことができます。それでは、これらの特徴の具体的な例を見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67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空間の特徴をまとめた重要なスライドです。パーソナライズやエコーチェンバー</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フィルターバブルなど、</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聞きなれない言葉についても、次頁以降の事例で詳しく解説することを伝え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74E45BA6-E304-45AD-9E0D-8ECAA8DA7B1F}"/>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337068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61466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a:latin typeface="BIZ UDPGothic" panose="020B0400000000000000" pitchFamily="34" charset="-128"/>
                <a:ea typeface="BIZ UDPGothic" panose="020B0400000000000000" pitchFamily="34" charset="-128"/>
                <a:sym typeface="BIZ UDPゴシック" panose="020B0400000000000000" pitchFamily="50" charset="-128"/>
              </a:rPr>
              <a:t>まずは情報の保存性についての具体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友人から届いた絵葉書の写真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投稿しました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友人の電話番号が載っていたことに気づき、慌てて投稿を消し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後急いで投稿を消したはずなのに、友人の電話番号に迷惑電話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かかってくるようになってしま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をすぐ消したはずなのに、どうして迷惑電話がかかってくる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ってしまったの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7B3E21C4-7A67-411D-A1EA-0FE6CD69113D}"/>
              </a:ext>
            </a:extLst>
          </p:cNvPr>
          <p:cNvPicPr>
            <a:picLocks noChangeAspect="1"/>
          </p:cNvPicPr>
          <p:nvPr/>
        </p:nvPicPr>
        <p:blipFill rotWithShape="1">
          <a:blip r:embed="rId6"/>
          <a:srcRect l="960" t="961" r="96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167269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15254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では、投稿を消していても、一度流通した情報を完全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消すことはなかなか難しいのです。</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の投稿はもしかしたら、誰かにスクリーンショットを撮られ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電話番号の情報が漏れてしまったかもしれません。</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する際は、「この情報は顔や名前を出しても言える内容かな？」 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考えてから投稿するように気を付けてください。また、住所や電話番号など</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個人を特定できる情報は投稿しないようにすることが重要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3088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8F866A55-6F9D-4AEF-9EFA-63C37BDDCF8B}"/>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497988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3F15B-5FC2-4314-D459-FA50C718DECD}"/>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7BE84BD-C665-7DD2-534C-08EFACDBC668}"/>
              </a:ext>
            </a:extLst>
          </p:cNvPr>
          <p:cNvGraphicFramePr>
            <a:graphicFrameLocks noChangeAspect="1"/>
          </p:cNvGraphicFramePr>
          <p:nvPr>
            <p:custDataLst>
              <p:tags r:id="rId1"/>
            </p:custDataLst>
            <p:extLst>
              <p:ext uri="{D42A27DB-BD31-4B8C-83A1-F6EECF244321}">
                <p14:modId xmlns:p14="http://schemas.microsoft.com/office/powerpoint/2010/main" val="464422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D7BE84BD-C665-7DD2-534C-08EFACDBC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D6E5C2EE-7D30-9EE2-381B-52F07D3F695E}"/>
              </a:ext>
            </a:extLst>
          </p:cNvPr>
          <p:cNvSpPr>
            <a:spLocks noGrp="1"/>
          </p:cNvSpPr>
          <p:nvPr>
            <p:ph type="title"/>
          </p:nvPr>
        </p:nvSpPr>
        <p:spPr>
          <a:xfrm>
            <a:off x="566487" y="302026"/>
            <a:ext cx="11059026" cy="369332"/>
          </a:xfrm>
        </p:spPr>
        <p:txBody>
          <a:bodyPr vert="horz"/>
          <a:lstStyle/>
          <a:p>
            <a:r>
              <a:rPr lang="ja-JP" altLang="en-US" sz="2800" b="1" dirty="0"/>
              <a:t>はじめに、講師の皆さまへ</a:t>
            </a:r>
          </a:p>
        </p:txBody>
      </p:sp>
      <p:sp>
        <p:nvSpPr>
          <p:cNvPr id="2" name="Slide Number Placeholder 1">
            <a:extLst>
              <a:ext uri="{FF2B5EF4-FFF2-40B4-BE49-F238E27FC236}">
                <a16:creationId xmlns:a16="http://schemas.microsoft.com/office/drawing/2014/main" id="{81E0A5B5-88E9-19FC-5BD1-64A0F7345D12}"/>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a:t>
            </a:fld>
            <a:endParaRPr lang="ja-JP" altLang="en-US"/>
          </a:p>
        </p:txBody>
      </p:sp>
      <p:sp>
        <p:nvSpPr>
          <p:cNvPr id="7" name="Rectangle 6">
            <a:extLst>
              <a:ext uri="{FF2B5EF4-FFF2-40B4-BE49-F238E27FC236}">
                <a16:creationId xmlns:a16="http://schemas.microsoft.com/office/drawing/2014/main" id="{10777987-80EB-0293-38A7-B0079892F32A}"/>
              </a:ext>
            </a:extLst>
          </p:cNvPr>
          <p:cNvSpPr/>
          <p:nvPr/>
        </p:nvSpPr>
        <p:spPr>
          <a:xfrm>
            <a:off x="0" y="1136650"/>
            <a:ext cx="12192000" cy="5207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82A40004-F0D7-53D8-FD16-9E8AB21E8727}"/>
              </a:ext>
            </a:extLst>
          </p:cNvPr>
          <p:cNvSpPr/>
          <p:nvPr/>
        </p:nvSpPr>
        <p:spPr bwMode="ltGray">
          <a:xfrm>
            <a:off x="6355725" y="1561508"/>
            <a:ext cx="5269789" cy="4473019"/>
          </a:xfrm>
          <a:prstGeom prst="roundRect">
            <a:avLst>
              <a:gd name="adj" fmla="val 1610"/>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23">
            <a:extLst>
              <a:ext uri="{FF2B5EF4-FFF2-40B4-BE49-F238E27FC236}">
                <a16:creationId xmlns:a16="http://schemas.microsoft.com/office/drawing/2014/main" id="{FC5EAA75-46E7-D850-5371-19AECA5D8BEF}"/>
              </a:ext>
            </a:extLst>
          </p:cNvPr>
          <p:cNvSpPr txBox="1">
            <a:spLocks/>
          </p:cNvSpPr>
          <p:nvPr/>
        </p:nvSpPr>
        <p:spPr>
          <a:xfrm>
            <a:off x="6692901" y="1611362"/>
            <a:ext cx="4932613" cy="738664"/>
          </a:xfrm>
          <a:prstGeom prst="rect">
            <a:avLst/>
          </a:prstGeom>
          <a:noFill/>
        </p:spPr>
        <p:txBody>
          <a:bodyPr wrap="square" lIns="0" tIns="0" rIns="0" bIns="0" rtlCol="0" anchor="t">
            <a:spAutoFit/>
          </a:bodyPr>
          <a:lstStyle/>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教材は、以下の</a:t>
            </a: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ゴールを達成</a:t>
            </a:r>
            <a:br>
              <a:rPr kumimoji="1" lang="en-US" altLang="ja-JP"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できるよう</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設計されています。</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テキスト ボックス 23">
            <a:extLst>
              <a:ext uri="{FF2B5EF4-FFF2-40B4-BE49-F238E27FC236}">
                <a16:creationId xmlns:a16="http://schemas.microsoft.com/office/drawing/2014/main" id="{F6148560-B096-81AF-D302-C69414A05835}"/>
              </a:ext>
            </a:extLst>
          </p:cNvPr>
          <p:cNvSpPr txBox="1">
            <a:spLocks/>
          </p:cNvSpPr>
          <p:nvPr/>
        </p:nvSpPr>
        <p:spPr bwMode="gray">
          <a:xfrm>
            <a:off x="6889748" y="2649489"/>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課題を解決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Oval 20">
            <a:extLst>
              <a:ext uri="{FF2B5EF4-FFF2-40B4-BE49-F238E27FC236}">
                <a16:creationId xmlns:a16="http://schemas.microsoft.com/office/drawing/2014/main" id="{BA879134-2329-6FBC-9384-5DB302767782}"/>
              </a:ext>
            </a:extLst>
          </p:cNvPr>
          <p:cNvSpPr>
            <a:spLocks noChangeAspect="1" noChangeArrowheads="1"/>
          </p:cNvSpPr>
          <p:nvPr/>
        </p:nvSpPr>
        <p:spPr bwMode="gray">
          <a:xfrm>
            <a:off x="6692901" y="292702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p>
        </p:txBody>
      </p:sp>
      <p:sp>
        <p:nvSpPr>
          <p:cNvPr id="16" name="テキスト ボックス 23">
            <a:extLst>
              <a:ext uri="{FF2B5EF4-FFF2-40B4-BE49-F238E27FC236}">
                <a16:creationId xmlns:a16="http://schemas.microsoft.com/office/drawing/2014/main" id="{84829ED5-E5EF-1CC3-F332-D3AA362ADD55}"/>
              </a:ext>
            </a:extLst>
          </p:cNvPr>
          <p:cNvSpPr txBox="1">
            <a:spLocks/>
          </p:cNvSpPr>
          <p:nvPr/>
        </p:nvSpPr>
        <p:spPr bwMode="gray">
          <a:xfrm>
            <a:off x="6889748" y="3779807"/>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責任ある行動がとれ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Oval 20">
            <a:extLst>
              <a:ext uri="{FF2B5EF4-FFF2-40B4-BE49-F238E27FC236}">
                <a16:creationId xmlns:a16="http://schemas.microsoft.com/office/drawing/2014/main" id="{054D6493-A3C5-28F9-6E06-CC4403D4B9DE}"/>
              </a:ext>
            </a:extLst>
          </p:cNvPr>
          <p:cNvSpPr>
            <a:spLocks noChangeAspect="1" noChangeArrowheads="1"/>
          </p:cNvSpPr>
          <p:nvPr/>
        </p:nvSpPr>
        <p:spPr bwMode="gray">
          <a:xfrm>
            <a:off x="6692901" y="4057346"/>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p>
        </p:txBody>
      </p:sp>
      <p:sp>
        <p:nvSpPr>
          <p:cNvPr id="20" name="テキスト ボックス 23">
            <a:extLst>
              <a:ext uri="{FF2B5EF4-FFF2-40B4-BE49-F238E27FC236}">
                <a16:creationId xmlns:a16="http://schemas.microsoft.com/office/drawing/2014/main" id="{4093932F-07A5-57C9-D46D-DAF8A2B6AB41}"/>
              </a:ext>
            </a:extLst>
          </p:cNvPr>
          <p:cNvSpPr txBox="1">
            <a:spLocks/>
          </p:cNvSpPr>
          <p:nvPr/>
        </p:nvSpPr>
        <p:spPr bwMode="gray">
          <a:xfrm>
            <a:off x="6889748" y="4910124"/>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buFont typeface="Trebuchet MS" panose="020B0603020202020204" pitchFamily="34" charset="0"/>
              <a:buChar char="​"/>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に対応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Oval 20">
            <a:extLst>
              <a:ext uri="{FF2B5EF4-FFF2-40B4-BE49-F238E27FC236}">
                <a16:creationId xmlns:a16="http://schemas.microsoft.com/office/drawing/2014/main" id="{8C63DE90-ECBD-3F42-7B13-6DAF687DCD70}"/>
              </a:ext>
            </a:extLst>
          </p:cNvPr>
          <p:cNvSpPr>
            <a:spLocks noChangeAspect="1" noChangeArrowheads="1"/>
          </p:cNvSpPr>
          <p:nvPr/>
        </p:nvSpPr>
        <p:spPr bwMode="gray">
          <a:xfrm>
            <a:off x="6692901" y="5187663"/>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p>
        </p:txBody>
      </p:sp>
      <p:grpSp>
        <p:nvGrpSpPr>
          <p:cNvPr id="22" name="Group 21">
            <a:extLst>
              <a:ext uri="{FF2B5EF4-FFF2-40B4-BE49-F238E27FC236}">
                <a16:creationId xmlns:a16="http://schemas.microsoft.com/office/drawing/2014/main" id="{E1805A5B-8ECE-01EB-F05E-8678911B3E7B}"/>
              </a:ext>
            </a:extLst>
          </p:cNvPr>
          <p:cNvGrpSpPr/>
          <p:nvPr/>
        </p:nvGrpSpPr>
        <p:grpSpPr bwMode="gray">
          <a:xfrm>
            <a:off x="6229851" y="3550846"/>
            <a:ext cx="348247" cy="378606"/>
            <a:chOff x="6056282" y="2668773"/>
            <a:chExt cx="223867" cy="243385"/>
          </a:xfrm>
        </p:grpSpPr>
        <p:sp>
          <p:nvSpPr>
            <p:cNvPr id="33" name="Freeform 51">
              <a:extLst>
                <a:ext uri="{FF2B5EF4-FFF2-40B4-BE49-F238E27FC236}">
                  <a16:creationId xmlns:a16="http://schemas.microsoft.com/office/drawing/2014/main" id="{0571E2E5-A7E0-56BE-3DC8-32983CE183ED}"/>
                </a:ext>
              </a:extLst>
            </p:cNvPr>
            <p:cNvSpPr>
              <a:spLocks/>
            </p:cNvSpPr>
            <p:nvPr/>
          </p:nvSpPr>
          <p:spPr bwMode="gray">
            <a:xfrm>
              <a:off x="60562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sp>
          <p:nvSpPr>
            <p:cNvPr id="34" name="Freeform 51">
              <a:extLst>
                <a:ext uri="{FF2B5EF4-FFF2-40B4-BE49-F238E27FC236}">
                  <a16:creationId xmlns:a16="http://schemas.microsoft.com/office/drawing/2014/main" id="{805FFE09-C65B-2CC1-4093-FA2DDE9C0ABF}"/>
                </a:ext>
              </a:extLst>
            </p:cNvPr>
            <p:cNvSpPr>
              <a:spLocks/>
            </p:cNvSpPr>
            <p:nvPr/>
          </p:nvSpPr>
          <p:spPr bwMode="gray">
            <a:xfrm>
              <a:off x="61451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3" name="Group 2">
            <a:extLst>
              <a:ext uri="{FF2B5EF4-FFF2-40B4-BE49-F238E27FC236}">
                <a16:creationId xmlns:a16="http://schemas.microsoft.com/office/drawing/2014/main" id="{A9C9EFC2-9B37-C2AE-E24A-16486EEEAB6A}"/>
              </a:ext>
            </a:extLst>
          </p:cNvPr>
          <p:cNvGrpSpPr/>
          <p:nvPr/>
        </p:nvGrpSpPr>
        <p:grpSpPr bwMode="gray">
          <a:xfrm>
            <a:off x="561792" y="3157463"/>
            <a:ext cx="5248458" cy="370372"/>
            <a:chOff x="561792" y="2974583"/>
            <a:chExt cx="5248458" cy="370372"/>
          </a:xfrm>
        </p:grpSpPr>
        <p:cxnSp>
          <p:nvCxnSpPr>
            <p:cNvPr id="26" name="直線コネクタ 2">
              <a:extLst>
                <a:ext uri="{FF2B5EF4-FFF2-40B4-BE49-F238E27FC236}">
                  <a16:creationId xmlns:a16="http://schemas.microsoft.com/office/drawing/2014/main" id="{411B9857-920A-582D-584B-50368609C6CD}"/>
                </a:ext>
              </a:extLst>
            </p:cNvPr>
            <p:cNvCxnSpPr>
              <a:cxnSpLocks/>
            </p:cNvCxnSpPr>
            <p:nvPr/>
          </p:nvCxnSpPr>
          <p:spPr bwMode="gray">
            <a:xfrm>
              <a:off x="2917642" y="2974583"/>
              <a:ext cx="289260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7" name="直線コネクタ 2">
              <a:extLst>
                <a:ext uri="{FF2B5EF4-FFF2-40B4-BE49-F238E27FC236}">
                  <a16:creationId xmlns:a16="http://schemas.microsoft.com/office/drawing/2014/main" id="{9CACF037-7BC0-5AE2-BAD3-E3BDC3527458}"/>
                </a:ext>
              </a:extLst>
            </p:cNvPr>
            <p:cNvCxnSpPr>
              <a:cxnSpLocks/>
            </p:cNvCxnSpPr>
            <p:nvPr/>
          </p:nvCxnSpPr>
          <p:spPr bwMode="gray">
            <a:xfrm>
              <a:off x="561792" y="3344955"/>
              <a:ext cx="4770604" cy="0"/>
            </a:xfrm>
            <a:prstGeom prst="line">
              <a:avLst/>
            </a:prstGeom>
            <a:solidFill>
              <a:sysClr val="window" lastClr="FFFFFF"/>
            </a:solidFill>
            <a:ln w="149225" cap="flat" cmpd="sng" algn="ctr">
              <a:solidFill>
                <a:srgbClr val="F4EA66">
                  <a:alpha val="90000"/>
                </a:srgbClr>
              </a:solidFill>
              <a:prstDash val="solid"/>
              <a:miter lim="800000"/>
            </a:ln>
            <a:effectLst/>
          </p:spPr>
        </p:cxnSp>
      </p:grpSp>
      <p:cxnSp>
        <p:nvCxnSpPr>
          <p:cNvPr id="24" name="直線コネクタ 2">
            <a:extLst>
              <a:ext uri="{FF2B5EF4-FFF2-40B4-BE49-F238E27FC236}">
                <a16:creationId xmlns:a16="http://schemas.microsoft.com/office/drawing/2014/main" id="{FF8CDCA6-8659-B44E-DEF5-09E7F021E258}"/>
              </a:ext>
            </a:extLst>
          </p:cNvPr>
          <p:cNvCxnSpPr>
            <a:cxnSpLocks/>
          </p:cNvCxnSpPr>
          <p:nvPr/>
        </p:nvCxnSpPr>
        <p:spPr bwMode="gray">
          <a:xfrm>
            <a:off x="3353118" y="4993111"/>
            <a:ext cx="182994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5" name="直線コネクタ 2">
            <a:extLst>
              <a:ext uri="{FF2B5EF4-FFF2-40B4-BE49-F238E27FC236}">
                <a16:creationId xmlns:a16="http://schemas.microsoft.com/office/drawing/2014/main" id="{31FAB5FA-1416-DAA1-1884-F10E08EF8FDF}"/>
              </a:ext>
            </a:extLst>
          </p:cNvPr>
          <p:cNvCxnSpPr>
            <a:cxnSpLocks/>
          </p:cNvCxnSpPr>
          <p:nvPr/>
        </p:nvCxnSpPr>
        <p:spPr bwMode="gray">
          <a:xfrm>
            <a:off x="566485" y="5340407"/>
            <a:ext cx="2216280"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30" name="テキスト ボックス 23">
            <a:extLst>
              <a:ext uri="{FF2B5EF4-FFF2-40B4-BE49-F238E27FC236}">
                <a16:creationId xmlns:a16="http://schemas.microsoft.com/office/drawing/2014/main" id="{D6A7AC96-16AF-FC59-3DFF-1E7E55FF533A}"/>
              </a:ext>
            </a:extLst>
          </p:cNvPr>
          <p:cNvSpPr txBox="1">
            <a:spLocks/>
          </p:cNvSpPr>
          <p:nvPr/>
        </p:nvSpPr>
        <p:spPr>
          <a:xfrm>
            <a:off x="566485" y="1708824"/>
            <a:ext cx="5548564" cy="4062651"/>
          </a:xfrm>
          <a:prstGeom prst="rect">
            <a:avLst/>
          </a:prstGeom>
          <a:noFill/>
        </p:spPr>
        <p:txBody>
          <a:bodyPr wrap="square" lIns="0" tIns="0" rIns="0" bIns="0" rtlCol="0" anchor="ctr">
            <a:spAutoFit/>
          </a:bodyPr>
          <a:lstStyle/>
          <a:p>
            <a:pPr defTabSz="914385"/>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などのデジタル技術は、</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私たちの暮らしを便利にし、社会との</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つながりを広げてくれる可能性が</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しかし、使い方に戸惑ったり、</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にあわないか不安に感じることも少なくありません。</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endPar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シニアの方々が、デジタル技術を前向きに、安全に活用して、自分に合った</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社会参加の機会を見つけられるよう、</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一緒に学び、取り組んでいきましょう。</a:t>
            </a:r>
          </a:p>
        </p:txBody>
      </p:sp>
    </p:spTree>
    <p:extLst>
      <p:ext uri="{BB962C8B-B14F-4D97-AF65-F5344CB8AC3E}">
        <p14:creationId xmlns:p14="http://schemas.microsoft.com/office/powerpoint/2010/main" val="2367457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56054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は情報の匿名性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る日、</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に有名な会社の社長秘書を名乗る人から特別な投資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勧めるメッセージが届き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万円を振り込んだら</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倍にしてあげる」と言われ、テレビに出ている</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有名な人からの連絡なら安心かも、と考えお金を振り込んでしま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なにが問題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DCA1F561-4938-4944-996B-2F92BB159111}"/>
              </a:ext>
            </a:extLst>
          </p:cNvPr>
          <p:cNvPicPr>
            <a:picLocks noChangeAspect="1"/>
          </p:cNvPicPr>
          <p:nvPr/>
        </p:nvPicPr>
        <p:blipFill rotWithShape="1">
          <a:blip r:embed="rId6"/>
          <a:srcRect l="965" t="961" r="957"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00110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35364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お金を振り込んだ途端、音信不通になってしま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お金をだまし取られてしま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簡単に名前・年齢・性別・職業をごまかす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メッセージでやり取りをする中で、信頼できる人だと思っても、</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モノかもしれません。「この人は実はウソをついているかも？」と疑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を守り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BC6F6FB3-87EA-46CF-A87E-693D5194FC17}"/>
              </a:ext>
            </a:extLst>
          </p:cNvPr>
          <p:cNvPicPr>
            <a:picLocks noChangeAspect="1"/>
          </p:cNvPicPr>
          <p:nvPr/>
        </p:nvPicPr>
        <p:blipFill rotWithShape="1">
          <a:blip r:embed="rId6"/>
          <a:srcRect l="935" t="961" r="988"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32396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22579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はパーソナライズの例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C</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健康について気になり、インターネットを使って健康に関する情報を検索して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すると、それ以降、検索サイト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健康情報や広告ばかり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表示されるようにな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ぜ健康に関する情報ばかりが表示されるようになったの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29928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D6188CDB-3B99-4C7D-A370-43ECFC4677C6}"/>
              </a:ext>
            </a:extLst>
          </p:cNvPr>
          <p:cNvPicPr>
            <a:picLocks noChangeAspect="1"/>
          </p:cNvPicPr>
          <p:nvPr/>
        </p:nvPicPr>
        <p:blipFill>
          <a:blip r:embed="rId6"/>
          <a:srcRect l="360" t="961" r="1563" b="961"/>
          <a:stretch>
            <a:fillRect/>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99401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155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23">
            <a:extLst>
              <a:ext uri="{FF2B5EF4-FFF2-40B4-BE49-F238E27FC236}">
                <a16:creationId xmlns:a16="http://schemas.microsoft.com/office/drawing/2014/main" id="{2D991DF4-167F-46E7-B915-E0B20B5764E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4)</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2</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A5CF3D0E-1420-4C50-96D2-EC0B314404E5}"/>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の世界では、みなさんの年齢や、過去の検索・閲覧履歴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もとづいて、それぞれの人の好みに近い有益そうな情報が優先的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表示される仕組みがあります。これをパーソナライズといい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興味のある情報が次々表示されることで、ついスマホを見続けてしま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ともあるかと思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当に必要な情報は何か、立ち止まって考えてみましょう。</a:t>
            </a:r>
          </a:p>
        </p:txBody>
      </p:sp>
      <p:pic>
        <p:nvPicPr>
          <p:cNvPr id="16" name="Picture 15">
            <a:extLst>
              <a:ext uri="{FF2B5EF4-FFF2-40B4-BE49-F238E27FC236}">
                <a16:creationId xmlns:a16="http://schemas.microsoft.com/office/drawing/2014/main" id="{C323CC57-25ED-4798-9BCC-EE590F748938}"/>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
        <p:nvSpPr>
          <p:cNvPr id="12" name="Rectangle: Rounded Corners 1">
            <a:extLst>
              <a:ext uri="{FF2B5EF4-FFF2-40B4-BE49-F238E27FC236}">
                <a16:creationId xmlns:a16="http://schemas.microsoft.com/office/drawing/2014/main" id="{33AF3D11-0C7E-915E-3E0B-407DFCCEE947}"/>
              </a:ext>
            </a:extLst>
          </p:cNvPr>
          <p:cNvSpPr/>
          <p:nvPr/>
        </p:nvSpPr>
        <p:spPr bwMode="gray">
          <a:xfrm>
            <a:off x="5576552" y="30431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DF8893C7-95E0-4A8E-A56E-C284AFB7E5FF}"/>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FE60023F-F26F-4621-AFFA-80DEB475E4DD}"/>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2857901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73968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5)</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3</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A5501205-CEE8-4DFA-94D7-CEE8C652D572}"/>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はエコーチェンバー</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ィルターバブルの例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有名人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言っていることは正しい」と思って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見ると、「</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意見に賛成」という投稿がたくさん表示</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れているように見え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のため、</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みんなは私と同じ意見を持っている。だから</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やっぱり正しいんだ」、と思い込むようになりました。</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なにが問題なのでしょうか？</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617BD849-82FA-B955-5353-AAC01C784F3F}"/>
              </a:ext>
            </a:extLst>
          </p:cNvPr>
          <p:cNvSpPr/>
          <p:nvPr/>
        </p:nvSpPr>
        <p:spPr bwMode="gray">
          <a:xfrm>
            <a:off x="5576552" y="35601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A847C009-A9FD-4A2E-AD73-285767C6A349}"/>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5E848357-CE1B-4B82-986D-107548627AC5}"/>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84892A12-1E9E-448E-8EF8-C5CF96C38C9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1C5479E0-5117-4772-BDC9-1B8E47DA190C}"/>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44340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0666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6)</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4</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010C39E5-7370-406E-B287-2F17FB1090A9}"/>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は、私たちが受け取る情報は偏っているかもしれません。</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は、</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に自分の意見を発信すると似た意見ばかりが表示される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る「エコーチェンバー」や、インターネットの検索履歴などをもとに自分の好みや興味・関心に近い事柄ばかりが表示され、まるで「泡」の中にい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うに、限られた情報しか見えなくなってしまう「フィルターバブ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いった現象が存在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ろいろな考え方に触れる機会が少なくなると、自分では気がつかな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うちに考えが偏りやすくなり、差別や偏見につながる可能性も</a:t>
            </a:r>
            <a:r>
              <a:rPr kumimoji="1" lang="ja-JP" altLang="en-US" sz="1400" spc="-1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a:t>
            </a:r>
            <a:endParaRPr kumimoji="1" lang="en-US" altLang="ja-JP" sz="1400" spc="-1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 dirty="0">
                <a:latin typeface="BIZ UDPゴシック" panose="020B0400000000000000" pitchFamily="50" charset="-128"/>
                <a:ea typeface="BIZ UDPゴシック" panose="020B0400000000000000" pitchFamily="50" charset="-128"/>
                <a:sym typeface="BIZ UDPゴシック" panose="020B0400000000000000" pitchFamily="50" charset="-128"/>
              </a:rPr>
              <a:t>意識的にさまざまな情報をバランスよく取り入れることが大切です。</a:t>
            </a:r>
          </a:p>
        </p:txBody>
      </p:sp>
      <p:sp>
        <p:nvSpPr>
          <p:cNvPr id="12" name="Rectangle: Rounded Corners 1">
            <a:extLst>
              <a:ext uri="{FF2B5EF4-FFF2-40B4-BE49-F238E27FC236}">
                <a16:creationId xmlns:a16="http://schemas.microsoft.com/office/drawing/2014/main" id="{EC34345F-5BE8-86C1-21EA-A8C802DF411A}"/>
              </a:ext>
            </a:extLst>
          </p:cNvPr>
          <p:cNvSpPr/>
          <p:nvPr/>
        </p:nvSpPr>
        <p:spPr bwMode="gray">
          <a:xfrm>
            <a:off x="5576552" y="43357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AC8D53F1-4A2F-4E7C-BDD7-DA17EDF83574}"/>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D02B730B-2992-4144-8DD9-3F86E033966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B3884B8A-60AE-4104-8DE3-119B66CD465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7" name="Picture 16">
            <a:extLst>
              <a:ext uri="{FF2B5EF4-FFF2-40B4-BE49-F238E27FC236}">
                <a16:creationId xmlns:a16="http://schemas.microsoft.com/office/drawing/2014/main" id="{D7629C06-C7E6-40D9-9DB2-6668DC4EDD9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49021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08472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7)</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5</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B09597F0-746C-46BF-BDE7-C82922D9BA06}"/>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情報的健康」に関するコラムを紹介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とは、さまざまな情報をバランスよく取り入れ、情報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確からしさや安全性などを意識して、ニセ情報等への免疫を獲得することで、それぞれの人が望む幸福を追求できている状態を指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日々の食事においても、偏った食事を続けると体調を崩してしま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食事と同じように、情報もバランスよく取り入れることを意識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の状態を目指しましょう。</a:t>
            </a:r>
            <a:endParaRPr kumimoji="1" lang="en-US" altLang="ja-JP"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02450F13-DAF8-1A59-190F-B6D453AB18D9}"/>
              </a:ext>
            </a:extLst>
          </p:cNvPr>
          <p:cNvSpPr/>
          <p:nvPr/>
        </p:nvSpPr>
        <p:spPr bwMode="gray">
          <a:xfrm>
            <a:off x="5576552" y="35601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8729E0A-5EA0-4C90-9F3D-ED2F9FFCBEA5}"/>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3B7D627D-3A73-41D4-9E53-96827B89FA88}"/>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5055E650-343C-4F4B-A659-ED0D17F8F54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B7BDB3A1-3C61-4C58-A83C-235B7CEEFB29}"/>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254985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5570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8)</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6</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C36C9519-760D-45FB-8990-1E88034E100D}"/>
              </a:ext>
            </a:extLst>
          </p:cNvPr>
          <p:cNvSpPr txBox="1"/>
          <p:nvPr/>
        </p:nvSpPr>
        <p:spPr>
          <a:xfrm>
            <a:off x="5576552" y="1231714"/>
            <a:ext cx="6278451" cy="1723549"/>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の例を見てみましょう。</a:t>
            </a:r>
          </a:p>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見かける投稿や広告に潜むアテンション・エコノミーの例です。</a:t>
            </a: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１つめは「飲むだけで</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5</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歳若返る！」と書かれたサプリの広告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２つめは、「あの芸能人の衝撃の現在」と過激なタイトルが付けられ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ュース記事です。</a:t>
            </a: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らの広告やニュースは何が問題でしょうか？</a:t>
            </a:r>
          </a:p>
        </p:txBody>
      </p:sp>
      <p:sp>
        <p:nvSpPr>
          <p:cNvPr id="13" name="Rectangle: Rounded Corners 1">
            <a:extLst>
              <a:ext uri="{FF2B5EF4-FFF2-40B4-BE49-F238E27FC236}">
                <a16:creationId xmlns:a16="http://schemas.microsoft.com/office/drawing/2014/main" id="{F814892A-F92E-ABD9-ABEE-1466B68822C7}"/>
              </a:ext>
            </a:extLst>
          </p:cNvPr>
          <p:cNvSpPr/>
          <p:nvPr/>
        </p:nvSpPr>
        <p:spPr bwMode="gray">
          <a:xfrm>
            <a:off x="5576552" y="299572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DB74BC6-BF7C-46F7-92CF-E69C96F28D14}"/>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67F9AC7E-489A-4D94-8C2B-320B6BAA199D}"/>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C2909867-2792-4E61-B704-0A50C8AB98A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3E39ADE0-6AF7-4BA9-A883-ADDB4643A49F}"/>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435508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81248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19)</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7</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32E694F5-2FEE-4C50-948A-ADFC47C15F18}"/>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エコノミーは、興味や関心、注目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ひくような情報によって、クリックを促したり、より多くの広告をみたり、サービスを使ってもらおうとするネット上のしくみのこと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は、注目を集めるために、過激なタイトルで拡散を狙う広告・投稿が多く存在し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極端な情報や偏った情報ほど拡散されやすいことを念頭に、このような</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投稿をうのみにせず、情報の信頼性をしっかり確認することが重要で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投稿する際も、注目を集めることだけを優先するのではなく、</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適切な情報を発信しているのか冷静になって考えるように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Rectangle: Rounded Corners 1">
            <a:extLst>
              <a:ext uri="{FF2B5EF4-FFF2-40B4-BE49-F238E27FC236}">
                <a16:creationId xmlns:a16="http://schemas.microsoft.com/office/drawing/2014/main" id="{3CE5F910-0C72-A382-58A3-6C675D2A7E06}"/>
              </a:ext>
            </a:extLst>
          </p:cNvPr>
          <p:cNvSpPr/>
          <p:nvPr/>
        </p:nvSpPr>
        <p:spPr bwMode="gray">
          <a:xfrm>
            <a:off x="5576552" y="40772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DAB59CD7-CB04-4FE2-94A8-C168E6287F2D}"/>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0864E797-356F-434F-97D1-283861FD23A5}"/>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8ABDCC47-4B0F-4BB9-B9B8-43A1C69CA34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415036BB-7F64-42DD-957E-77363FC3B43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11722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37712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20)</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E3BB75F1-8B23-477C-A26D-CBB8DCFE0738}"/>
              </a:ext>
            </a:extLst>
          </p:cNvPr>
          <p:cNvSpPr txBox="1"/>
          <p:nvPr/>
        </p:nvSpPr>
        <p:spPr>
          <a:xfrm>
            <a:off x="5576552" y="122159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１つ目、一度投稿した情報を完全に消し去ることは難し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２つ目、名前・年齢・性別・職業を簡単にごまかせ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あなたが興味を持ちそうな内容が優先して表示される</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受け取る情報が偏っているかもしれない</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極端な情報ほど注目されやすい</a:t>
            </a:r>
          </a:p>
        </p:txBody>
      </p:sp>
      <p:sp>
        <p:nvSpPr>
          <p:cNvPr id="12" name="Rectangle: Rounded Corners 1">
            <a:extLst>
              <a:ext uri="{FF2B5EF4-FFF2-40B4-BE49-F238E27FC236}">
                <a16:creationId xmlns:a16="http://schemas.microsoft.com/office/drawing/2014/main" id="{FD33DA3C-3F84-2BC5-A758-605048AF5BA1}"/>
              </a:ext>
            </a:extLst>
          </p:cNvPr>
          <p:cNvSpPr/>
          <p:nvPr/>
        </p:nvSpPr>
        <p:spPr bwMode="gray">
          <a:xfrm>
            <a:off x="5576552" y="3032988"/>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0A08AC10-E224-4781-832B-3EF793E4AB1B}"/>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39E84A00-75E6-4688-BE3F-145726C68725}"/>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D4776540-C48D-40FA-928C-D1FC2903AE0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94BAAFF1-267E-40BC-B1EB-C2C4A767EF01}"/>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162428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265614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03541B57-F978-4DB7-6015-AD3633118978}"/>
              </a:ext>
            </a:extLst>
          </p:cNvPr>
          <p:cNvSpPr>
            <a:spLocks noGrp="1"/>
          </p:cNvSpPr>
          <p:nvPr>
            <p:ph type="title"/>
          </p:nvPr>
        </p:nvSpPr>
        <p:spPr/>
        <p:txBody>
          <a:bodyPr vert="horz"/>
          <a:lstStyle/>
          <a:p>
            <a:r>
              <a:rPr lang="ja-JP" altLang="en-US" b="1" dirty="0">
                <a:latin typeface="BIZ UDPゴシック" panose="020B0400000000000000" pitchFamily="50" charset="-128"/>
                <a:ea typeface="BIZ UDPゴシック" panose="020B0400000000000000" pitchFamily="50" charset="-128"/>
                <a:sym typeface="BIZ UDPゴシック" panose="020B0400000000000000" pitchFamily="50" charset="-128"/>
              </a:rPr>
              <a:t>教材のゴールと伝えたいメッセージ</a:t>
            </a:r>
          </a:p>
        </p:txBody>
      </p:sp>
      <p:sp>
        <p:nvSpPr>
          <p:cNvPr id="2" name="Slide Number Placeholder 1">
            <a:extLst>
              <a:ext uri="{FF2B5EF4-FFF2-40B4-BE49-F238E27FC236}">
                <a16:creationId xmlns:a16="http://schemas.microsoft.com/office/drawing/2014/main" id="{403F94AC-4E09-4D66-4978-147C2FDB4541}"/>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 name="Group 2">
            <a:extLst>
              <a:ext uri="{FF2B5EF4-FFF2-40B4-BE49-F238E27FC236}">
                <a16:creationId xmlns:a16="http://schemas.microsoft.com/office/drawing/2014/main" id="{668567B0-72B5-F5C9-7508-EAC1E4022B41}"/>
              </a:ext>
            </a:extLst>
          </p:cNvPr>
          <p:cNvGrpSpPr/>
          <p:nvPr/>
        </p:nvGrpSpPr>
        <p:grpSpPr bwMode="gray">
          <a:xfrm>
            <a:off x="0" y="1507067"/>
            <a:ext cx="12192001" cy="4543795"/>
            <a:chOff x="0" y="1507067"/>
            <a:chExt cx="12192001" cy="4543795"/>
          </a:xfrm>
        </p:grpSpPr>
        <p:sp>
          <p:nvSpPr>
            <p:cNvPr id="4" name="正方形/長方形 31">
              <a:extLst>
                <a:ext uri="{FF2B5EF4-FFF2-40B4-BE49-F238E27FC236}">
                  <a16:creationId xmlns:a16="http://schemas.microsoft.com/office/drawing/2014/main" id="{A213844D-C7C6-23A0-9231-EB5228666F15}"/>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テキスト ボックス 23">
              <a:extLst>
                <a:ext uri="{FF2B5EF4-FFF2-40B4-BE49-F238E27FC236}">
                  <a16:creationId xmlns:a16="http://schemas.microsoft.com/office/drawing/2014/main" id="{A2A7C5B9-715C-7852-E69E-0DEB9F3BE3A2}"/>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安全にデジタル技術や情報を活用し、課題を解決できる</a:t>
              </a:r>
            </a:p>
          </p:txBody>
        </p:sp>
        <p:sp>
          <p:nvSpPr>
            <p:cNvPr id="6" name="Oval 20">
              <a:extLst>
                <a:ext uri="{FF2B5EF4-FFF2-40B4-BE49-F238E27FC236}">
                  <a16:creationId xmlns:a16="http://schemas.microsoft.com/office/drawing/2014/main" id="{6E912E00-1D83-CC7D-3BF9-D8182A9D8354}"/>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7" name="Rectangle 6">
              <a:extLst>
                <a:ext uri="{FF2B5EF4-FFF2-40B4-BE49-F238E27FC236}">
                  <a16:creationId xmlns:a16="http://schemas.microsoft.com/office/drawing/2014/main" id="{37E6D830-354F-DCB8-5C9D-44E4284525DE}"/>
                </a:ext>
              </a:extLst>
            </p:cNvPr>
            <p:cNvSpPr/>
            <p:nvPr/>
          </p:nvSpPr>
          <p:spPr bwMode="gray">
            <a:xfrm>
              <a:off x="0" y="28012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8" name="Straight Connector 7">
              <a:extLst>
                <a:ext uri="{FF2B5EF4-FFF2-40B4-BE49-F238E27FC236}">
                  <a16:creationId xmlns:a16="http://schemas.microsoft.com/office/drawing/2014/main" id="{6786E343-F8C3-DCA4-B7F3-5F9FCFDE97DB}"/>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F863E49-D4C6-152A-F40F-F2FE2142A280}"/>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15" name="正方形/長方形 31">
              <a:extLst>
                <a:ext uri="{FF2B5EF4-FFF2-40B4-BE49-F238E27FC236}">
                  <a16:creationId xmlns:a16="http://schemas.microsoft.com/office/drawing/2014/main" id="{0FB58078-FDB5-A969-F780-636B4EA08B5E}"/>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grpSp>
          <p:nvGrpSpPr>
            <p:cNvPr id="16" name="Group 15">
              <a:extLst>
                <a:ext uri="{FF2B5EF4-FFF2-40B4-BE49-F238E27FC236}">
                  <a16:creationId xmlns:a16="http://schemas.microsoft.com/office/drawing/2014/main" id="{A5E51425-03D5-90E5-5E3C-D8D0117E1AB2}"/>
                </a:ext>
              </a:extLst>
            </p:cNvPr>
            <p:cNvGrpSpPr/>
            <p:nvPr/>
          </p:nvGrpSpPr>
          <p:grpSpPr bwMode="gray">
            <a:xfrm>
              <a:off x="566487" y="3324547"/>
              <a:ext cx="11059026" cy="2177584"/>
              <a:chOff x="566487" y="3337247"/>
              <a:chExt cx="11059026" cy="2177584"/>
            </a:xfrm>
          </p:grpSpPr>
          <p:grpSp>
            <p:nvGrpSpPr>
              <p:cNvPr id="17" name="Group 16">
                <a:extLst>
                  <a:ext uri="{FF2B5EF4-FFF2-40B4-BE49-F238E27FC236}">
                    <a16:creationId xmlns:a16="http://schemas.microsoft.com/office/drawing/2014/main" id="{4971C106-B492-87E6-54DF-6DD6FD6233B1}"/>
                  </a:ext>
                </a:extLst>
              </p:cNvPr>
              <p:cNvGrpSpPr/>
              <p:nvPr/>
            </p:nvGrpSpPr>
            <p:grpSpPr bwMode="gray">
              <a:xfrm>
                <a:off x="936284" y="3704290"/>
                <a:ext cx="10182566" cy="1747025"/>
                <a:chOff x="1037884" y="3661955"/>
                <a:chExt cx="10182566" cy="1747025"/>
              </a:xfrm>
            </p:grpSpPr>
            <p:cxnSp>
              <p:nvCxnSpPr>
                <p:cNvPr id="19" name="直線コネクタ 23">
                  <a:extLst>
                    <a:ext uri="{FF2B5EF4-FFF2-40B4-BE49-F238E27FC236}">
                      <a16:creationId xmlns:a16="http://schemas.microsoft.com/office/drawing/2014/main" id="{4B912035-5199-71C6-8CCE-5630AB33C06A}"/>
                    </a:ext>
                  </a:extLst>
                </p:cNvPr>
                <p:cNvCxnSpPr>
                  <a:cxnSpLocks/>
                </p:cNvCxnSpPr>
                <p:nvPr/>
              </p:nvCxnSpPr>
              <p:spPr bwMode="gray">
                <a:xfrm>
                  <a:off x="8821153" y="4957878"/>
                  <a:ext cx="239929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0" name="直線コネクタ 23">
                  <a:extLst>
                    <a:ext uri="{FF2B5EF4-FFF2-40B4-BE49-F238E27FC236}">
                      <a16:creationId xmlns:a16="http://schemas.microsoft.com/office/drawing/2014/main" id="{746B6477-BF90-6F97-E64B-2D54A80CFB31}"/>
                    </a:ext>
                  </a:extLst>
                </p:cNvPr>
                <p:cNvCxnSpPr>
                  <a:cxnSpLocks/>
                </p:cNvCxnSpPr>
                <p:nvPr/>
              </p:nvCxnSpPr>
              <p:spPr bwMode="gray">
                <a:xfrm>
                  <a:off x="4179172" y="5408980"/>
                  <a:ext cx="45076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3" name="直線コネクタ 23">
                  <a:extLst>
                    <a:ext uri="{FF2B5EF4-FFF2-40B4-BE49-F238E27FC236}">
                      <a16:creationId xmlns:a16="http://schemas.microsoft.com/office/drawing/2014/main" id="{0BE15F14-02F8-EAF8-0B16-015FE00A107C}"/>
                    </a:ext>
                  </a:extLst>
                </p:cNvPr>
                <p:cNvCxnSpPr>
                  <a:cxnSpLocks/>
                </p:cNvCxnSpPr>
                <p:nvPr/>
              </p:nvCxnSpPr>
              <p:spPr bwMode="gray">
                <a:xfrm>
                  <a:off x="1050583" y="5408980"/>
                  <a:ext cx="65121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4" name="直線コネクタ 26">
                  <a:extLst>
                    <a:ext uri="{FF2B5EF4-FFF2-40B4-BE49-F238E27FC236}">
                      <a16:creationId xmlns:a16="http://schemas.microsoft.com/office/drawing/2014/main" id="{00DD2B6F-53BC-C0C3-36DA-07043ABF62D0}"/>
                    </a:ext>
                  </a:extLst>
                </p:cNvPr>
                <p:cNvCxnSpPr>
                  <a:cxnSpLocks/>
                </p:cNvCxnSpPr>
                <p:nvPr/>
              </p:nvCxnSpPr>
              <p:spPr bwMode="gray">
                <a:xfrm>
                  <a:off x="1037884" y="3661955"/>
                  <a:ext cx="3642067" cy="0"/>
                </a:xfrm>
                <a:prstGeom prst="line">
                  <a:avLst/>
                </a:prstGeom>
                <a:solidFill>
                  <a:sysClr val="window" lastClr="FFFFFF"/>
                </a:solidFill>
                <a:ln w="149225" cap="flat" cmpd="sng" algn="ctr">
                  <a:solidFill>
                    <a:srgbClr val="F4EA66">
                      <a:alpha val="90000"/>
                    </a:srgbClr>
                  </a:solidFill>
                  <a:prstDash val="solid"/>
                  <a:miter lim="800000"/>
                </a:ln>
                <a:effectLst/>
              </p:spPr>
            </p:cxnSp>
          </p:grpSp>
          <p:sp>
            <p:nvSpPr>
              <p:cNvPr id="18" name="テキスト ボックス 23">
                <a:extLst>
                  <a:ext uri="{FF2B5EF4-FFF2-40B4-BE49-F238E27FC236}">
                    <a16:creationId xmlns:a16="http://schemas.microsoft.com/office/drawing/2014/main" id="{CA2D69A1-A3F2-B391-8919-0DB57D904EA6}"/>
                  </a:ext>
                </a:extLst>
              </p:cNvPr>
              <p:cNvSpPr txBox="1"/>
              <p:nvPr/>
            </p:nvSpPr>
            <p:spPr bwMode="gray">
              <a:xfrm>
                <a:off x="566487" y="3337247"/>
                <a:ext cx="11059026" cy="2177584"/>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理解することで、課題に対する柔軟な対応力を身につけ、責任ある行動がとれるようになってもらう</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515938" lvl="1" indent="-400050" defTabSz="914385">
                  <a:lnSpc>
                    <a:spcPct val="120000"/>
                  </a:lnSpc>
                  <a:buClr>
                    <a:srgbClr val="FF862C"/>
                  </a:buClr>
                  <a:buFont typeface="BIZ UDPゴシック" panose="020B0400000000000000" pitchFamily="50" charset="-128"/>
                  <a:buChar char="●"/>
                  <a:defRPr/>
                </a:pP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暮らしを豊かにする可能性を知ることで、前向きな気持ち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育み、すぐに取り組める具体的な活用方法を知ってもらう</a:t>
                </a:r>
              </a:p>
            </p:txBody>
          </p:sp>
        </p:grpSp>
      </p:grpSp>
    </p:spTree>
    <p:extLst>
      <p:ext uri="{BB962C8B-B14F-4D97-AF65-F5344CB8AC3E}">
        <p14:creationId xmlns:p14="http://schemas.microsoft.com/office/powerpoint/2010/main" val="3582796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2776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21)</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29</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4026A6B4-DCFB-4BFD-9592-1D25185B9497}"/>
              </a:ext>
            </a:extLst>
          </p:cNvPr>
          <p:cNvSpPr txBox="1"/>
          <p:nvPr/>
        </p:nvSpPr>
        <p:spPr>
          <a:xfrm>
            <a:off x="4617719" y="943143"/>
            <a:ext cx="7007794" cy="246221"/>
          </a:xfrm>
          <a:prstGeom prst="rect">
            <a:avLst/>
          </a:prstGeom>
          <a:noFill/>
        </p:spPr>
        <p:txBody>
          <a:bodyPr wrap="square" lIns="0" tIns="0" rIns="0" bIns="0" rtlCol="0">
            <a:noAutofit/>
          </a:bodyPr>
          <a:lstStyle/>
          <a:p>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D76CA2CD-5351-DBA7-771A-AD58811E2054}"/>
              </a:ext>
            </a:extLst>
          </p:cNvPr>
          <p:cNvSpPr/>
          <p:nvPr/>
        </p:nvSpPr>
        <p:spPr bwMode="gray">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0CFA03FD-209A-4ED7-8DAC-C35FEBE04B0F}"/>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CE225538-E819-461A-81D9-E7B537C652BF}"/>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2167AA7C-29A3-4B7D-A357-73EC6425B01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135B968C-4C7F-423A-8875-FB23898200EB}"/>
              </a:ext>
            </a:extLst>
          </p:cNvPr>
          <p:cNvPicPr>
            <a:picLocks noChangeAspect="1"/>
          </p:cNvPicPr>
          <p:nvPr/>
        </p:nvPicPr>
        <p:blipFill rotWithShape="1">
          <a:blip r:embed="rId6"/>
          <a:srcRect l="364" t="961" r="364"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8517874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460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22)</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30</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02E67BFA-3C88-460B-BB00-684DD835A707}"/>
              </a:ext>
            </a:extLst>
          </p:cNvPr>
          <p:cNvSpPr txBox="1"/>
          <p:nvPr/>
        </p:nvSpPr>
        <p:spPr>
          <a:xfrm>
            <a:off x="5576552" y="1231714"/>
            <a:ext cx="6278451" cy="546625"/>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パート</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デジタル空間にどのようなトラブルがあるか学ん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E67F29FD-7EB8-E370-9526-3EA8BE8E3AEF}"/>
              </a:ext>
            </a:extLst>
          </p:cNvPr>
          <p:cNvSpPr/>
          <p:nvPr/>
        </p:nvSpPr>
        <p:spPr bwMode="gray">
          <a:xfrm>
            <a:off x="5576552" y="181879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CF11A005-EFD8-5414-02BE-A9E33F2EEFB5}"/>
              </a:ext>
            </a:extLst>
          </p:cNvPr>
          <p:cNvGrpSpPr/>
          <p:nvPr/>
        </p:nvGrpSpPr>
        <p:grpSpPr>
          <a:xfrm>
            <a:off x="0" y="4940300"/>
            <a:ext cx="12192000" cy="1409700"/>
            <a:chOff x="0" y="4876800"/>
            <a:chExt cx="12192000" cy="1409700"/>
          </a:xfrm>
        </p:grpSpPr>
        <p:sp>
          <p:nvSpPr>
            <p:cNvPr id="7" name="Rectangle 6">
              <a:extLst>
                <a:ext uri="{FF2B5EF4-FFF2-40B4-BE49-F238E27FC236}">
                  <a16:creationId xmlns:a16="http://schemas.microsoft.com/office/drawing/2014/main" id="{CB5655CF-DB62-4E0C-179C-1089946F1585}"/>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8" name="Rectangle 7">
              <a:extLst>
                <a:ext uri="{FF2B5EF4-FFF2-40B4-BE49-F238E27FC236}">
                  <a16:creationId xmlns:a16="http://schemas.microsoft.com/office/drawing/2014/main" id="{C770D659-1902-42E0-DAF6-AB308015083D}"/>
                </a:ext>
              </a:extLst>
            </p:cNvPr>
            <p:cNvSpPr/>
            <p:nvPr/>
          </p:nvSpPr>
          <p:spPr>
            <a:xfrm>
              <a:off x="566487" y="5365157"/>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2</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デジタル空間において出会いやすいトラブルについて最新の事例を交えて紹介しています。</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なりすまし詐欺などの犯罪被害だけでなく、スマホやインターネットの長時間利用による影響など、心と体の安全を守ることも意識して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9" name="Group 8">
              <a:extLst>
                <a:ext uri="{FF2B5EF4-FFF2-40B4-BE49-F238E27FC236}">
                  <a16:creationId xmlns:a16="http://schemas.microsoft.com/office/drawing/2014/main" id="{843EEDA5-169C-224B-ADA7-49409FBD793E}"/>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76F5290E-8F14-2A54-65B2-13A882527F0F}"/>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27ED81B3-530E-49F9-7EDA-5D96F9B9F228}"/>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ADF4DB2B-85D0-6408-0954-EAC32B7723F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4C5EAE49-82F1-398B-99E8-B5A9E3F4418B}"/>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BDE68614-210A-44F0-9B62-64AAF915B48E}"/>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6EF41E38-3C93-4F22-A1E8-DDF69B8B6161}"/>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472708C9-900D-412C-AEFF-2556B0D5E9C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FAE81557-3319-4D28-B944-C9F52A93AB17}"/>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2080414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19760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364DD068-3401-486C-AB9E-42D80B3AD18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23)</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31</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Box 8">
            <a:extLst>
              <a:ext uri="{FF2B5EF4-FFF2-40B4-BE49-F238E27FC236}">
                <a16:creationId xmlns:a16="http://schemas.microsoft.com/office/drawing/2014/main" id="{8162D869-8AA4-496B-AED2-B3B46C2851A8}"/>
              </a:ext>
            </a:extLst>
          </p:cNvPr>
          <p:cNvSpPr txBox="1"/>
          <p:nvPr/>
        </p:nvSpPr>
        <p:spPr>
          <a:xfrm>
            <a:off x="5576552" y="1231714"/>
            <a:ext cx="6278451" cy="546625"/>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は、デジタル空間で出会うかもしれないトラブルについ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空欄の答えを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8" name="Picture 7">
            <a:extLst>
              <a:ext uri="{FF2B5EF4-FFF2-40B4-BE49-F238E27FC236}">
                <a16:creationId xmlns:a16="http://schemas.microsoft.com/office/drawing/2014/main" id="{9EBEDF51-C164-43A9-BBB8-D5C057C6A0EC}"/>
              </a:ext>
            </a:extLst>
          </p:cNvPr>
          <p:cNvPicPr>
            <a:picLocks noChangeAspect="1"/>
          </p:cNvPicPr>
          <p:nvPr/>
        </p:nvPicPr>
        <p:blipFill>
          <a:blip r:embed="rId6"/>
          <a:stretch>
            <a:fillRect/>
          </a:stretch>
        </p:blipFill>
        <p:spPr>
          <a:xfrm>
            <a:off x="640867" y="1307367"/>
            <a:ext cx="4501139" cy="2532157"/>
          </a:xfrm>
          <a:prstGeom prst="rect">
            <a:avLst/>
          </a:prstGeom>
        </p:spPr>
      </p:pic>
      <p:sp>
        <p:nvSpPr>
          <p:cNvPr id="12" name="Rectangle: Rounded Corners 1">
            <a:extLst>
              <a:ext uri="{FF2B5EF4-FFF2-40B4-BE49-F238E27FC236}">
                <a16:creationId xmlns:a16="http://schemas.microsoft.com/office/drawing/2014/main" id="{35C3B173-1063-F5B9-FF64-C78076050F40}"/>
              </a:ext>
            </a:extLst>
          </p:cNvPr>
          <p:cNvSpPr/>
          <p:nvPr/>
        </p:nvSpPr>
        <p:spPr bwMode="gray">
          <a:xfrm>
            <a:off x="5576552" y="181879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C44A6C89-A95E-46AE-8483-1298E3D6D2D3}"/>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44915D0D-DE36-41E1-9C4E-E601ABDDB485}"/>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2" name="Rectangle 23">
            <a:extLst>
              <a:ext uri="{FF2B5EF4-FFF2-40B4-BE49-F238E27FC236}">
                <a16:creationId xmlns:a16="http://schemas.microsoft.com/office/drawing/2014/main" id="{D23ACA96-5752-44BD-A00C-C3B43953511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09CF475A-DF8E-4BFB-8D17-23F2C788554E}"/>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2247600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1365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長時間利用すると、健康や生活にさまざまな悪影響が出てしま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気になる投稿や動画が次々おすすめされ見続けてしまうなど、</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昼夜逆転の生活リズムの乱れを引き起こし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の結果、寝不足になったり、視力が悪くなってしまうことがあり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体への影響だけでな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見ていないと不安で、家族や友人との会話に集中できなくなったり、他人の投稿と自分を比較して落ちこ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うなど、心へも影響を引き起こし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48366DF9-B3CD-4D58-9509-42CDFABC384F}"/>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6717557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2759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グループメッセージなどでは思わぬコミュニケーショントラブル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引き起こすことが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会いに来ない？」と誘ったつもりが、？マークをつけ忘れてしまい、違う意味に捉えられてしまった、ということが起こるかもしれません。</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文字だけのコミュニケーションでは、相手に自分の意図を正確に伝えることは難しいことを意識し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する前にもう一度内容を見直す習慣をつけ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絵文字やスタンプを使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電話や直接話すことも考え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といった工夫をすることが有効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8C05EC9-AC86-436D-AFB1-5A26741C9CB8}"/>
              </a:ext>
            </a:extLst>
          </p:cNvPr>
          <p:cNvPicPr>
            <a:picLocks noChangeAspect="1"/>
          </p:cNvPicPr>
          <p:nvPr/>
        </p:nvPicPr>
        <p:blipFill rotWithShape="1">
          <a:blip r:embed="rId6"/>
          <a:srcRect l="1053" t="961" r="105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4009170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84367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インターネットで知らない人と気軽につながってしま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トラブルになった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の家の周りで撮影した写真を気軽に投稿して、映り込んだ文字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景色の特徴を元に住所や本名を特定されるリスクが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インターネットを通じて仲良くなった人に写真を送ってしま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写真を拡散されたくないならお金を払えとおどされるトラブル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発生してい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で知らない人とつながることのリスクを知り、慎重な行動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心がけ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580D7DFC-D067-4767-94D9-0F917BED5943}"/>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1355444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4022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知り合った有名な会社の社長秘書を名乗る人から、特別な投資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誘われま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１のデジタル空間の特徴の１つである、情報の匿名性でも紹介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ですが、これはウソの身分をかたった、なりすまし詐欺の可能性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りすまし詐欺とは、メールや電話で信頼させ、金銭をだまし取る犯罪</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す。親族や警察を装ったり、未払い料金の架空請求メールが送られ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くるなど、手口はさまざま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メールを受信したら送り主を確認し、少しでも不安を感じたら</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家族や警察に相談するように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3392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46C6346A-F8F5-45CC-8217-788EA58252DE}"/>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3389457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4607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ＳＮＳで募集している怪しいバイトに関するトラブル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楽に高額を稼げるバイトを見つけ、投稿者にメッセージを送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の写真を求められたので、写真を撮って送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の結果、身分証明書の写真で脅され、犯罪行為を強要さ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罪を犯すことに・・・</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30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6CAE82FF-F053-43FE-934D-94F255AC6DC7}"/>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8118203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2168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簡単に稼げる、高額報酬、などといった投稿、</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応募すると、身分証明書の写真を送るように指示されたり、</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連絡手段として見たことのないアプリやサイトを指定され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いったことがあれば、闇バイトの可能性を疑いましょう。これらは詐欺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犯罪につながる危険な兆候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や個人情報を絶対に渡さないように注意し、危ないと思ったら、</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すぐに警察に連絡するように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30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EF327D07-26B0-497B-8C27-1B592AD4897C}"/>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013051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4012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266408"/>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まで学んできたインターネットのトラブル関して、振り返り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なたが経験したことはありますか？今後どのようなことに注意する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良い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家族や友人同士で話し合っ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535812"/>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講座で学んだ事例などの具体例を出しながら受講者へ問いかけ、</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の具体的な対処法の学びにつなげましょう。</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少人数のグループディスカッションやペアワークなどにするなど、意見交換しやすい形を工夫してみ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CE70CE37-96CE-4DB3-9DA0-A99693C804E8}"/>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395992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3062093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282369-0035-DE26-FF86-67A221569710}"/>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3</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6" name="Title 21">
            <a:extLst>
              <a:ext uri="{FF2B5EF4-FFF2-40B4-BE49-F238E27FC236}">
                <a16:creationId xmlns:a16="http://schemas.microsoft.com/office/drawing/2014/main" id="{D3C86BC7-A217-BAA4-8344-15B3E2947485}"/>
              </a:ext>
            </a:extLst>
          </p:cNvPr>
          <p:cNvSpPr>
            <a:spLocks noGrp="1"/>
          </p:cNvSpPr>
          <p:nvPr>
            <p:ph type="title"/>
          </p:nvPr>
        </p:nvSpPr>
        <p:spPr>
          <a:xfrm>
            <a:off x="566487" y="302026"/>
            <a:ext cx="11059026" cy="369332"/>
          </a:xfrm>
        </p:spPr>
        <p:txBody>
          <a:bodyPr vert="horz"/>
          <a:lstStyle/>
          <a:p>
            <a:r>
              <a:rPr lang="ja-JP" altLang="en-US" b="1" dirty="0">
                <a:latin typeface="BIZ UDPゴシック" panose="020B0400000000000000" pitchFamily="50" charset="-128"/>
                <a:ea typeface="BIZ UDPゴシック" panose="020B0400000000000000" pitchFamily="50" charset="-128"/>
                <a:sym typeface="BIZ UDPゴシック" panose="020B0400000000000000" pitchFamily="50" charset="-128"/>
              </a:rPr>
              <a:t>教材のゴールと伝えたいメッセージ</a:t>
            </a:r>
          </a:p>
        </p:txBody>
      </p:sp>
      <p:sp>
        <p:nvSpPr>
          <p:cNvPr id="5" name="正方形/長方形 31">
            <a:extLst>
              <a:ext uri="{FF2B5EF4-FFF2-40B4-BE49-F238E27FC236}">
                <a16:creationId xmlns:a16="http://schemas.microsoft.com/office/drawing/2014/main" id="{B6D4F8EA-B341-7049-CA7F-FBE8F95FF7EE}"/>
              </a:ext>
            </a:extLst>
          </p:cNvPr>
          <p:cNvSpPr/>
          <p:nvPr/>
        </p:nvSpPr>
        <p:spPr>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テキスト ボックス 23">
            <a:extLst>
              <a:ext uri="{FF2B5EF4-FFF2-40B4-BE49-F238E27FC236}">
                <a16:creationId xmlns:a16="http://schemas.microsoft.com/office/drawing/2014/main" id="{9B5D3417-86D9-26AE-EBA7-31541F033204}"/>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周りのことを考え、責任ある行動がとれる</a:t>
            </a:r>
          </a:p>
        </p:txBody>
      </p:sp>
      <p:sp>
        <p:nvSpPr>
          <p:cNvPr id="7" name="Oval 20">
            <a:extLst>
              <a:ext uri="{FF2B5EF4-FFF2-40B4-BE49-F238E27FC236}">
                <a16:creationId xmlns:a16="http://schemas.microsoft.com/office/drawing/2014/main" id="{6F218367-9B87-00B2-7164-561D04FB2284}"/>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0" name="Rectangle 9">
            <a:extLst>
              <a:ext uri="{FF2B5EF4-FFF2-40B4-BE49-F238E27FC236}">
                <a16:creationId xmlns:a16="http://schemas.microsoft.com/office/drawing/2014/main" id="{1C936F88-A9A4-0E35-4794-9E15D75EF9CB}"/>
              </a:ext>
            </a:extLst>
          </p:cNvPr>
          <p:cNvSpPr/>
          <p:nvPr/>
        </p:nvSpPr>
        <p:spPr>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1" name="Straight Connector 10">
            <a:extLst>
              <a:ext uri="{FF2B5EF4-FFF2-40B4-BE49-F238E27FC236}">
                <a16:creationId xmlns:a16="http://schemas.microsoft.com/office/drawing/2014/main" id="{F4B99EC6-5360-EDCE-6F4A-40F9C88A23D8}"/>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C44CB96-BA36-E807-D3A8-C4C9E0AA9B22}"/>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13" name="正方形/長方形 31">
            <a:extLst>
              <a:ext uri="{FF2B5EF4-FFF2-40B4-BE49-F238E27FC236}">
                <a16:creationId xmlns:a16="http://schemas.microsoft.com/office/drawing/2014/main" id="{957C21E2-2BEE-F97E-9EEC-57F28955E58E}"/>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cxnSp>
        <p:nvCxnSpPr>
          <p:cNvPr id="18" name="直線コネクタ 23">
            <a:extLst>
              <a:ext uri="{FF2B5EF4-FFF2-40B4-BE49-F238E27FC236}">
                <a16:creationId xmlns:a16="http://schemas.microsoft.com/office/drawing/2014/main" id="{9C181914-ED04-8651-1EE3-62544FC87BB7}"/>
              </a:ext>
            </a:extLst>
          </p:cNvPr>
          <p:cNvCxnSpPr>
            <a:cxnSpLocks/>
          </p:cNvCxnSpPr>
          <p:nvPr/>
        </p:nvCxnSpPr>
        <p:spPr bwMode="gray">
          <a:xfrm>
            <a:off x="6315981" y="4991261"/>
            <a:ext cx="40889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19" name="直線コネクタ 23">
            <a:extLst>
              <a:ext uri="{FF2B5EF4-FFF2-40B4-BE49-F238E27FC236}">
                <a16:creationId xmlns:a16="http://schemas.microsoft.com/office/drawing/2014/main" id="{CB0CDCEA-8304-A68D-7C2A-F0921F7CAD88}"/>
              </a:ext>
            </a:extLst>
          </p:cNvPr>
          <p:cNvCxnSpPr>
            <a:cxnSpLocks/>
          </p:cNvCxnSpPr>
          <p:nvPr/>
        </p:nvCxnSpPr>
        <p:spPr bwMode="gray">
          <a:xfrm>
            <a:off x="955442" y="4135897"/>
            <a:ext cx="4988158"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16" name="テキスト ボックス 23">
            <a:extLst>
              <a:ext uri="{FF2B5EF4-FFF2-40B4-BE49-F238E27FC236}">
                <a16:creationId xmlns:a16="http://schemas.microsoft.com/office/drawing/2014/main" id="{3BE9759E-DBF7-46B1-A76C-7FAA4C9710A1}"/>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sp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に巻き込まれないために、身近なトラブル事例やその対応方法を知り、実際に対処できるようになってもらう</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endPar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社会に与える影響を知り、だまされない</a:t>
            </a:r>
            <a: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拡散しない方法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知ってもらう</a:t>
            </a:r>
          </a:p>
        </p:txBody>
      </p:sp>
    </p:spTree>
    <p:extLst>
      <p:ext uri="{BB962C8B-B14F-4D97-AF65-F5344CB8AC3E}">
        <p14:creationId xmlns:p14="http://schemas.microsoft.com/office/powerpoint/2010/main" val="19493252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08801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512402"/>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で学んだことを振り返り、空欄の正解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使いすぎてしまうと、健康や生活に悪影響があ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２つ目、気軽な投稿がコミュニケーショントラブルに発展しう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３つ目、知らない人との軽率な交流が犯罪被害につなが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４つ目、簡単に情報を信じると犯罪に巻き込まれ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781806"/>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A1194E38-5725-4331-A601-01CF8D0B7740}"/>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285899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9554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0</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225444"/>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35610476-51E9-4EB3-B8EA-6471564166CB}"/>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2795028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60918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こまでインターネットには様々な危険が存在していることを紹介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きました。自分や周囲の人を守るためにはどうすればよい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具体的な対処方法について、パート３で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031631"/>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情報を発信する際にトラブルに巻きこまれないための具体的な行動と、巻き込まれた時の対処法を</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伝えましょう。</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必要に応じて相談できる窓口があることも知ってもらい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59F07B56-95EB-4DE7-B11F-924DAFA31721}"/>
              </a:ext>
            </a:extLst>
          </p:cNvPr>
          <p:cNvPicPr>
            <a:picLocks noChangeAspect="1"/>
          </p:cNvPicPr>
          <p:nvPr/>
        </p:nvPicPr>
        <p:blipFill rotWithShape="1">
          <a:blip r:embed="rId6"/>
          <a:srcRect l="629" t="961" r="1295"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886009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9354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4)</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2</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D5D83A70-A38A-4C02-96D4-C2ADDC2EF10C}"/>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守る具体的な対策について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空欄の答えを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05B9B232-0CCA-8EF9-5C68-CE3C9BCEF473}"/>
              </a:ext>
            </a:extLst>
          </p:cNvPr>
          <p:cNvSpPr/>
          <p:nvPr/>
        </p:nvSpPr>
        <p:spPr bwMode="gray">
          <a:xfrm>
            <a:off x="5576552" y="17504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6FFD7656-FBAA-4D8A-A744-B5B3EE8C5A0E}"/>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B5A04C5B-BF9A-4FAF-87B1-107DF529F024}"/>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A51B9418-D0EA-447A-8901-60FA648E14AC}"/>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1CCA0CC3-420A-4FC4-9401-8A1663392D01}"/>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8779590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2594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5)</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3</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TextBox 11">
            <a:extLst>
              <a:ext uri="{FF2B5EF4-FFF2-40B4-BE49-F238E27FC236}">
                <a16:creationId xmlns:a16="http://schemas.microsoft.com/office/drawing/2014/main" id="{F9F7B9F1-6FBE-4035-BB7E-9C540FBD36E3}"/>
              </a:ext>
            </a:extLst>
          </p:cNvPr>
          <p:cNvSpPr txBox="1"/>
          <p:nvPr/>
        </p:nvSpPr>
        <p:spPr>
          <a:xfrm>
            <a:off x="5576552" y="1231714"/>
            <a:ext cx="6278451" cy="861774"/>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危険から守るために、</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発信時の注意</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への対応</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に分けてみ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Rectangle: Rounded Corners 1">
            <a:extLst>
              <a:ext uri="{FF2B5EF4-FFF2-40B4-BE49-F238E27FC236}">
                <a16:creationId xmlns:a16="http://schemas.microsoft.com/office/drawing/2014/main" id="{5C3371DD-93A4-22E1-9C59-8C29EE074416}"/>
              </a:ext>
            </a:extLst>
          </p:cNvPr>
          <p:cNvSpPr/>
          <p:nvPr/>
        </p:nvSpPr>
        <p:spPr bwMode="gray">
          <a:xfrm>
            <a:off x="5576552" y="213394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B4981771-AB79-F8FC-9D00-3FFDBE041282}"/>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A01654C9-4457-9B5D-BDB5-843813E56E44}"/>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8" name="Rectangle 7">
              <a:extLst>
                <a:ext uri="{FF2B5EF4-FFF2-40B4-BE49-F238E27FC236}">
                  <a16:creationId xmlns:a16="http://schemas.microsoft.com/office/drawing/2014/main" id="{76ACEF2F-1AA4-EE98-0C94-B978247666AE}"/>
                </a:ext>
              </a:extLst>
            </p:cNvPr>
            <p:cNvSpPr/>
            <p:nvPr/>
          </p:nvSpPr>
          <p:spPr bwMode="blackGray">
            <a:xfrm>
              <a:off x="566487" y="5328335"/>
              <a:ext cx="11059026" cy="764266"/>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発信時の注意では、誰もが被害者にも加害者にもなりうる事例を紹介しています。トラブルに巻き込まれないよう</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注意するだけはなく、自分もトラブルを起こしてしまう可能性があることを理解してもらうことが重要です。</a:t>
              </a:r>
              <a:endParaRPr lang="en-US" altLang="ja-JP" sz="1600" b="1" strike="sngStrike"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0" name="Group 9">
              <a:extLst>
                <a:ext uri="{FF2B5EF4-FFF2-40B4-BE49-F238E27FC236}">
                  <a16:creationId xmlns:a16="http://schemas.microsoft.com/office/drawing/2014/main" id="{C97280FD-9ED5-6740-0A33-F420B6CC9EEA}"/>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8CF19D0D-F80F-245D-3AFA-C58D91AE3899}"/>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52808C2B-7C6B-228E-CA15-B5EA7E6064E9}"/>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084B6031-AD7C-96C3-0BC3-626F425DBFF5}"/>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F812B620-314C-D6F8-1010-2179F3BC42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770E3E42-9BAE-4816-AE51-C1C815A1C575}"/>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872A65C3-1C63-44B8-B1B4-9A6CDB67FEA1}"/>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239AC151-55B9-4252-AB15-CC4746ABB60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9CE0E10E-5021-4194-A6CF-815CE2CE786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5858686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9588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6)</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4</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77E948A7-EAD3-41D4-941D-09D20DA6BE66}"/>
              </a:ext>
            </a:extLst>
          </p:cNvPr>
          <p:cNvSpPr txBox="1"/>
          <p:nvPr/>
        </p:nvSpPr>
        <p:spPr>
          <a:xfrm>
            <a:off x="5576552" y="1231714"/>
            <a:ext cx="6278451" cy="2369880"/>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発信時の注意の１つ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初月無料と書かれた化粧品を購入してみました。</a:t>
            </a: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度だけ購入したつもりが、毎月契約することになってしまい、解約しようとしましたが、どこから解約したらいいのか分からず、また記載され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電話番号もつながりません。</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商品を購入する際は、商品の内容や説明をしっか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読み、信頼できるサイトや販売者であることを確認しましょ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安すぎるなど、気になることがあれば買わないようにすること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大切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60C0A4FA-2F6F-05E5-AA6E-EB4677C348CB}"/>
              </a:ext>
            </a:extLst>
          </p:cNvPr>
          <p:cNvSpPr/>
          <p:nvPr/>
        </p:nvSpPr>
        <p:spPr bwMode="gray">
          <a:xfrm>
            <a:off x="5576552" y="364205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19FF942A-E226-4786-8884-9C65C599E8EC}"/>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173EC11C-6A11-4775-BC21-2188CFD758C9}"/>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D6DEE255-74F6-434F-B9F5-7F44D21F84E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B8111F6E-AA3C-47C6-8087-D45FFD778AA4}"/>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8105941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363795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7)</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5</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629A6913-85E1-4C22-93BA-7BBDC55CA5C8}"/>
              </a:ext>
            </a:extLst>
          </p:cNvPr>
          <p:cNvSpPr txBox="1"/>
          <p:nvPr/>
        </p:nvSpPr>
        <p:spPr>
          <a:xfrm>
            <a:off x="5576552" y="1231714"/>
            <a:ext cx="6278451" cy="2154436"/>
          </a:xfrm>
          <a:prstGeom prst="rect">
            <a:avLst/>
          </a:prstGeom>
          <a:noFill/>
        </p:spPr>
        <p:txBody>
          <a:bodyPr wrap="square" lIns="0" tIns="0" rIns="0" bIns="0" rtlCol="0">
            <a:spAutoFit/>
          </a:bodyPr>
          <a:lstStyle/>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E</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インターネットでやり取りを始めた人と仲良くな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恋愛感情を抱くようになりまし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毎日メッセージをやり取りするなど、楽しく過ごしていると、その人から</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二人の将来のために、投資をしないか」と誘われ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trike="sngStrike"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将来のためと言われ、喜んだ</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E</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すぐにお金を振り込みました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振り込んだ途端、連絡が途絶え音信不通になってしまい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好意を利用してお金をだまし取る、ロマンス詐欺の例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会ったことのない人からのお金の要求には注意が必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44B2F564-4B28-9553-1D8D-C086C181605F}"/>
              </a:ext>
            </a:extLst>
          </p:cNvPr>
          <p:cNvSpPr/>
          <p:nvPr/>
        </p:nvSpPr>
        <p:spPr bwMode="gray">
          <a:xfrm>
            <a:off x="5576552" y="342661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C71D0CE0-01E5-4A67-BCEA-3733C8E1CFEF}"/>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883084C9-9EE0-4950-B8F6-5EB82213E112}"/>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E3D3FF92-A27C-4678-9D70-22851037CA8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10CF8B9C-956F-4E5D-B191-E104D4C0A99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100986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3144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8)</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6</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8C1EC0B4-C144-411B-9E6C-3D8F5A4461EE}"/>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悪口を投稿するとどうなる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特定の人物やグループに対して悪口を</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広めることは名誉毀損罪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侮辱罪などに問われたり、高額の慰謝料を請求されたりすること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また匿名で投稿したとしても発信者を特定することが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匿名の投稿や拡散しただけでも罪に問われるので注意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CF41F1DF-1B01-4AAE-6736-80C3383447CB}"/>
              </a:ext>
            </a:extLst>
          </p:cNvPr>
          <p:cNvSpPr/>
          <p:nvPr/>
        </p:nvSpPr>
        <p:spPr bwMode="gray">
          <a:xfrm>
            <a:off x="5576552" y="30431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3BAB6B4E-9307-425F-9351-C44FF007FABC}"/>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A3CF2C70-93F9-40B2-BAF4-AD06E492D081}"/>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B46A4486-9058-4ECA-B65B-2A5CA2E52DB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D259FFC8-DEB8-480C-95E9-BC0886D32C0D}"/>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2858460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8226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39)</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7</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7162053E-B7E1-418E-984D-F4B4B1458A63}"/>
              </a:ext>
            </a:extLst>
          </p:cNvPr>
          <p:cNvSpPr txBox="1"/>
          <p:nvPr/>
        </p:nvSpPr>
        <p:spPr>
          <a:xfrm>
            <a:off x="5576552" y="1231714"/>
            <a:ext cx="6278451" cy="2154436"/>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写真やイラスト、音楽などを公開するときには著作権や肖像権に注意す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必要があります。</a:t>
            </a: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面白かった本の内容をコピーして友人に配ろうとしまし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かし、本の内容を権利者の許可を得ずにコピー・公開すること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著作権侵害にあた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写真に写っている人には肖像権があるため、ネッ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公開・投稿する場合、写真に写っている本人の許可が必要にな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許可なく撮影した写真などを</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に投稿するのはやめましょう。</a:t>
            </a:r>
          </a:p>
        </p:txBody>
      </p:sp>
      <p:sp>
        <p:nvSpPr>
          <p:cNvPr id="12" name="Rectangle: Rounded Corners 1">
            <a:extLst>
              <a:ext uri="{FF2B5EF4-FFF2-40B4-BE49-F238E27FC236}">
                <a16:creationId xmlns:a16="http://schemas.microsoft.com/office/drawing/2014/main" id="{3000B988-AF34-F7FE-05D0-811AD233EB69}"/>
              </a:ext>
            </a:extLst>
          </p:cNvPr>
          <p:cNvSpPr/>
          <p:nvPr/>
        </p:nvSpPr>
        <p:spPr bwMode="gray">
          <a:xfrm>
            <a:off x="5576552" y="341851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92934B44-AD0A-46FD-8F1C-6270EFEAF1A2}"/>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29D2F57B-69D7-41A3-981A-8FCB17649E9F}"/>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5F2F5F04-E609-478C-8BCD-C801175CCFA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BB233C1C-87EA-4975-96A9-06D9F7D5A03C}"/>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488459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82169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0)</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8E723486-D45B-4D3B-85F9-2A5E3ECC7211}"/>
              </a:ext>
            </a:extLst>
          </p:cNvPr>
          <p:cNvSpPr txBox="1"/>
          <p:nvPr/>
        </p:nvSpPr>
        <p:spPr>
          <a:xfrm>
            <a:off x="5576552" y="1231714"/>
            <a:ext cx="6278451" cy="3662541"/>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れでも、トラブルに巻き込まれてしまったときの対処法を、</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ステップで整理してみ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は冷静になることが大切です。慌てて行動せず、感情的になって</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反応しないように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トラブルの状況や証拠を整理します。適切な対処につなげ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ためには、第三者に客観的な説明をできることが大事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の状況、被害を受けた証拠をなるべく正確に残しておきましょう。</a:t>
            </a: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状況を把握したら、家族や相談窓口に、対応を相談しましょ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原因を見直して再発防止の手を打つことも大切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ィルタリング</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ウイルス対策などトラブルを未然に防ぐための対策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取りましょう。</a:t>
            </a:r>
          </a:p>
          <a:p>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何か起きたら、一人で悩まずすぐに家族や窓口に相談しましょう。</a:t>
            </a:r>
          </a:p>
        </p:txBody>
      </p:sp>
      <p:sp>
        <p:nvSpPr>
          <p:cNvPr id="12" name="Rectangle: Rounded Corners 1">
            <a:extLst>
              <a:ext uri="{FF2B5EF4-FFF2-40B4-BE49-F238E27FC236}">
                <a16:creationId xmlns:a16="http://schemas.microsoft.com/office/drawing/2014/main" id="{B65DE30D-A779-2829-9140-8C2958EBD337}"/>
              </a:ext>
            </a:extLst>
          </p:cNvPr>
          <p:cNvSpPr/>
          <p:nvPr/>
        </p:nvSpPr>
        <p:spPr bwMode="gray">
          <a:xfrm>
            <a:off x="5576552" y="493471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235B20D1-5A40-441C-8B61-D6CB291DB5C7}"/>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C169F4ED-2E4A-4723-AF3D-2A702251F485}"/>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254F88B0-DF51-44FB-BFA9-674CB754D07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5D5D861E-45A9-4D16-8612-17AFD8BC15B9}"/>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96950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296954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1DC0F5-F93B-6881-0D03-D4FF466E0FD2}"/>
              </a:ext>
            </a:extLst>
          </p:cNvPr>
          <p:cNvSpPr>
            <a:spLocks noGrp="1"/>
          </p:cNvSpPr>
          <p:nvPr>
            <p:ph type="sldNum" sz="quarter" idx="4"/>
          </p:nvPr>
        </p:nvSpPr>
        <p:spPr bwMode="gray">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1" name="Title 21">
            <a:extLst>
              <a:ext uri="{FF2B5EF4-FFF2-40B4-BE49-F238E27FC236}">
                <a16:creationId xmlns:a16="http://schemas.microsoft.com/office/drawing/2014/main" id="{75DBD635-3026-9BE2-092B-D3FFAF5FE422}"/>
              </a:ext>
            </a:extLst>
          </p:cNvPr>
          <p:cNvSpPr>
            <a:spLocks noGrp="1"/>
          </p:cNvSpPr>
          <p:nvPr>
            <p:ph type="title"/>
          </p:nvPr>
        </p:nvSpPr>
        <p:spPr>
          <a:xfrm>
            <a:off x="566487" y="302026"/>
            <a:ext cx="11059026" cy="369332"/>
          </a:xfrm>
        </p:spPr>
        <p:txBody>
          <a:bodyPr vert="horz"/>
          <a:lstStyle/>
          <a:p>
            <a:r>
              <a:rPr lang="ja-JP" altLang="en-US" b="1" dirty="0">
                <a:latin typeface="BIZ UDPゴシック" panose="020B0400000000000000" pitchFamily="50" charset="-128"/>
                <a:ea typeface="BIZ UDPゴシック" panose="020B0400000000000000" pitchFamily="50" charset="-128"/>
                <a:sym typeface="BIZ UDPゴシック" panose="020B0400000000000000" pitchFamily="50" charset="-128"/>
              </a:rPr>
              <a:t>教材のゴールと伝えたいメッセージ</a:t>
            </a:r>
          </a:p>
        </p:txBody>
      </p:sp>
      <p:grpSp>
        <p:nvGrpSpPr>
          <p:cNvPr id="3" name="Group 2">
            <a:extLst>
              <a:ext uri="{FF2B5EF4-FFF2-40B4-BE49-F238E27FC236}">
                <a16:creationId xmlns:a16="http://schemas.microsoft.com/office/drawing/2014/main" id="{8F0A23A0-3222-F55B-F38E-87730A8EC511}"/>
              </a:ext>
            </a:extLst>
          </p:cNvPr>
          <p:cNvGrpSpPr/>
          <p:nvPr/>
        </p:nvGrpSpPr>
        <p:grpSpPr bwMode="gray">
          <a:xfrm>
            <a:off x="0" y="1507067"/>
            <a:ext cx="12192001" cy="4518395"/>
            <a:chOff x="0" y="1507067"/>
            <a:chExt cx="12192001" cy="4518395"/>
          </a:xfrm>
        </p:grpSpPr>
        <p:sp>
          <p:nvSpPr>
            <p:cNvPr id="4" name="正方形/長方形 31">
              <a:extLst>
                <a:ext uri="{FF2B5EF4-FFF2-40B4-BE49-F238E27FC236}">
                  <a16:creationId xmlns:a16="http://schemas.microsoft.com/office/drawing/2014/main" id="{F6D5CDE5-91CF-4D9B-06CE-FB6F48096B3B}"/>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テキスト ボックス 23">
              <a:extLst>
                <a:ext uri="{FF2B5EF4-FFF2-40B4-BE49-F238E27FC236}">
                  <a16:creationId xmlns:a16="http://schemas.microsoft.com/office/drawing/2014/main" id="{878BA605-B8B5-B746-AD9F-0728971AA455}"/>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新しいデジタル技術や課題にも柔軟に対応できる</a:t>
              </a:r>
            </a:p>
          </p:txBody>
        </p:sp>
        <p:sp>
          <p:nvSpPr>
            <p:cNvPr id="6" name="Oval 20">
              <a:extLst>
                <a:ext uri="{FF2B5EF4-FFF2-40B4-BE49-F238E27FC236}">
                  <a16:creationId xmlns:a16="http://schemas.microsoft.com/office/drawing/2014/main" id="{00091E84-20AC-C8CF-BD1E-C3FE996BD7EB}"/>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8" name="Rectangle 17">
              <a:extLst>
                <a:ext uri="{FF2B5EF4-FFF2-40B4-BE49-F238E27FC236}">
                  <a16:creationId xmlns:a16="http://schemas.microsoft.com/office/drawing/2014/main" id="{7B897DD5-FA7F-F14E-4DB7-DBB47B5F66A5}"/>
                </a:ext>
              </a:extLst>
            </p:cNvPr>
            <p:cNvSpPr/>
            <p:nvPr/>
          </p:nvSpPr>
          <p:spPr bwMode="gray">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9" name="Straight Connector 18">
              <a:extLst>
                <a:ext uri="{FF2B5EF4-FFF2-40B4-BE49-F238E27FC236}">
                  <a16:creationId xmlns:a16="http://schemas.microsoft.com/office/drawing/2014/main" id="{368C8911-A264-5574-7210-2C8F3DC6E10D}"/>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FD70A0B-F08D-A7D3-02A9-38CC23A575DE}"/>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21" name="正方形/長方形 31">
              <a:extLst>
                <a:ext uri="{FF2B5EF4-FFF2-40B4-BE49-F238E27FC236}">
                  <a16:creationId xmlns:a16="http://schemas.microsoft.com/office/drawing/2014/main" id="{AC2A3A4C-628F-FDF3-B7CE-74FB5E8A17F9}"/>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cxnSp>
          <p:nvCxnSpPr>
            <p:cNvPr id="22" name="直線コネクタ 26">
              <a:extLst>
                <a:ext uri="{FF2B5EF4-FFF2-40B4-BE49-F238E27FC236}">
                  <a16:creationId xmlns:a16="http://schemas.microsoft.com/office/drawing/2014/main" id="{BBC72842-D39E-8FBD-3CBA-EB251B86F06D}"/>
                </a:ext>
              </a:extLst>
            </p:cNvPr>
            <p:cNvCxnSpPr>
              <a:cxnSpLocks/>
            </p:cNvCxnSpPr>
            <p:nvPr/>
          </p:nvCxnSpPr>
          <p:spPr bwMode="gray">
            <a:xfrm>
              <a:off x="939047" y="3667747"/>
              <a:ext cx="76715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3" name="直線コネクタ 23">
              <a:extLst>
                <a:ext uri="{FF2B5EF4-FFF2-40B4-BE49-F238E27FC236}">
                  <a16:creationId xmlns:a16="http://schemas.microsoft.com/office/drawing/2014/main" id="{187F2635-2250-1F85-5205-6E1A82E1D48C}"/>
                </a:ext>
              </a:extLst>
            </p:cNvPr>
            <p:cNvCxnSpPr>
              <a:cxnSpLocks/>
            </p:cNvCxnSpPr>
            <p:nvPr/>
          </p:nvCxnSpPr>
          <p:spPr bwMode="gray">
            <a:xfrm>
              <a:off x="7289647" y="4974328"/>
              <a:ext cx="30481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4" name="直線コネクタ 23">
              <a:extLst>
                <a:ext uri="{FF2B5EF4-FFF2-40B4-BE49-F238E27FC236}">
                  <a16:creationId xmlns:a16="http://schemas.microsoft.com/office/drawing/2014/main" id="{8B2878F3-F801-6012-5AC5-38942E4791E5}"/>
                </a:ext>
              </a:extLst>
            </p:cNvPr>
            <p:cNvCxnSpPr>
              <a:cxnSpLocks/>
            </p:cNvCxnSpPr>
            <p:nvPr/>
          </p:nvCxnSpPr>
          <p:spPr bwMode="gray">
            <a:xfrm>
              <a:off x="939047" y="4135897"/>
              <a:ext cx="276088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5" name="直線コネクタ 23">
              <a:extLst>
                <a:ext uri="{FF2B5EF4-FFF2-40B4-BE49-F238E27FC236}">
                  <a16:creationId xmlns:a16="http://schemas.microsoft.com/office/drawing/2014/main" id="{A724C0F6-58F5-AF8F-789D-51A091DD6323}"/>
                </a:ext>
              </a:extLst>
            </p:cNvPr>
            <p:cNvCxnSpPr>
              <a:cxnSpLocks/>
            </p:cNvCxnSpPr>
            <p:nvPr/>
          </p:nvCxnSpPr>
          <p:spPr bwMode="gray">
            <a:xfrm>
              <a:off x="939047" y="5414595"/>
              <a:ext cx="2058153"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26" name="テキスト ボックス 23">
              <a:extLst>
                <a:ext uri="{FF2B5EF4-FFF2-40B4-BE49-F238E27FC236}">
                  <a16:creationId xmlns:a16="http://schemas.microsoft.com/office/drawing/2014/main" id="{63926F14-4327-9A0A-23B6-65BB9A1CFC1B}"/>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課題の背景にある、デジタル空間の特徴を理解することで、新しい課題にも、</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自主的に対応する力を身につけてもらう</a:t>
              </a:r>
            </a:p>
            <a:p>
              <a:pPr marL="515938" lvl="1" indent="-400050" defTabSz="914385">
                <a:lnSpc>
                  <a:spcPct val="120000"/>
                </a:lnSpc>
                <a:buClr>
                  <a:srgbClr val="FF862C"/>
                </a:buClr>
                <a:buFont typeface="BIZ UDPゴシック" panose="020B0400000000000000" pitchFamily="50" charset="-128"/>
                <a:buChar char="●"/>
                <a:defRPr/>
              </a:pPr>
              <a:endPar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は進化しつづけていることを知り、継続的に学ぶ必要性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grpSp>
    </p:spTree>
    <p:extLst>
      <p:ext uri="{BB962C8B-B14F-4D97-AF65-F5344CB8AC3E}">
        <p14:creationId xmlns:p14="http://schemas.microsoft.com/office/powerpoint/2010/main" val="4099619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163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1)</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49</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1441B1AC-CF8B-4534-8223-D7FC688BD3DF}"/>
              </a:ext>
            </a:extLst>
          </p:cNvPr>
          <p:cNvSpPr txBox="1"/>
          <p:nvPr/>
        </p:nvSpPr>
        <p:spPr>
          <a:xfrm>
            <a:off x="5576552" y="1231714"/>
            <a:ext cx="6278451" cy="430887"/>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書き込みやトラブルに関する相談窓口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ってしまったトラブルに応じて、専門の窓口に相談しましょう。</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0B5943E1-BF47-718E-C920-EAD5EC6B615E}"/>
              </a:ext>
            </a:extLst>
          </p:cNvPr>
          <p:cNvSpPr/>
          <p:nvPr/>
        </p:nvSpPr>
        <p:spPr bwMode="gray">
          <a:xfrm>
            <a:off x="5576552" y="170306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4614EA86-6823-1E32-15B5-F7DEC34042CA}"/>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00EB3A8D-00B6-3066-142C-4BD1C9C7DF5A}"/>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8" name="Rectangle 7">
              <a:extLst>
                <a:ext uri="{FF2B5EF4-FFF2-40B4-BE49-F238E27FC236}">
                  <a16:creationId xmlns:a16="http://schemas.microsoft.com/office/drawing/2014/main" id="{0BC70DD5-0FC6-FC64-6B7C-89F8A4C8F76E}"/>
                </a:ext>
              </a:extLst>
            </p:cNvPr>
            <p:cNvSpPr/>
            <p:nvPr/>
          </p:nvSpPr>
          <p:spPr bwMode="blackGray">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トラブルが起きたら一人で悩まずに、誰かに相談することが大切です。必要なときに思い出してもらえるように、</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悩みに応じた相談・通報窓口があることを紹介し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0" name="Group 9">
              <a:extLst>
                <a:ext uri="{FF2B5EF4-FFF2-40B4-BE49-F238E27FC236}">
                  <a16:creationId xmlns:a16="http://schemas.microsoft.com/office/drawing/2014/main" id="{758799CC-CC66-ECC3-BCD0-F5632E52338B}"/>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155135A4-9AFD-ABAE-FFC2-C073F2BFBCB4}"/>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3AD85DD3-E970-EB4D-57C7-2B64059FD22D}"/>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A7ADBF2E-5D5A-BA1C-60CF-BFD820B68347}"/>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C969C3FF-F1A7-CBC1-62AD-62D02AC9C128}"/>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217D0D3B-F66C-4DE1-A289-2DA66F8D680E}"/>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CA364366-9F46-42AC-BF7D-6DDE0D781E94}"/>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D6827363-6A4C-4D65-B846-B0957F32BE4C}"/>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57EDB743-D0D6-4008-8942-74A4C5FF0765}"/>
              </a:ext>
            </a:extLst>
          </p:cNvPr>
          <p:cNvPicPr>
            <a:picLocks noChangeAspect="1"/>
          </p:cNvPicPr>
          <p:nvPr/>
        </p:nvPicPr>
        <p:blipFill rotWithShape="1">
          <a:blip r:embed="rId6"/>
          <a:srcRect l="359" t="961" r="1537"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1523072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2709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2)</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50</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5CA02238-6449-C5EE-FFC6-731788BB9419}"/>
              </a:ext>
            </a:extLst>
          </p:cNvPr>
          <p:cNvSpPr/>
          <p:nvPr/>
        </p:nvSpPr>
        <p:spPr bwMode="gray">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A01F719B-9FCB-4A6C-A096-5D25352452FC}"/>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4F8F4F1A-3425-44E8-B629-EBE4D28EA64F}"/>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354FE0B0-3753-4596-AA7B-8D365C83683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52D774E9-35AC-4C99-8F98-9E5EB88F3E85}"/>
              </a:ext>
            </a:extLst>
          </p:cNvPr>
          <p:cNvPicPr>
            <a:picLocks noChangeAspect="1"/>
          </p:cNvPicPr>
          <p:nvPr/>
        </p:nvPicPr>
        <p:blipFill rotWithShape="1">
          <a:blip r:embed="rId6"/>
          <a:srcRect l="361" t="961" r="153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8287973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0847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3)</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51</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06F6F84E-F269-4463-AE76-956C136BD96B}"/>
              </a:ext>
            </a:extLst>
          </p:cNvPr>
          <p:cNvSpPr txBox="1"/>
          <p:nvPr/>
        </p:nvSpPr>
        <p:spPr>
          <a:xfrm>
            <a:off x="5576552" y="1231714"/>
            <a:ext cx="6278451" cy="1508105"/>
          </a:xfrm>
          <a:prstGeom prst="rect">
            <a:avLst/>
          </a:prstGeom>
          <a:noFill/>
        </p:spPr>
        <p:txBody>
          <a:bodyPr wrap="square" lIns="0" tIns="0" rIns="0" bIns="0" rtlCol="0">
            <a:spAutoFit/>
          </a:bodyPr>
          <a:lstStyle/>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３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情報を発信する際は、トラブルに遭わないため</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対策をす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個人情報の発信、知らない人との気軽な交流</a:t>
            </a:r>
            <a:endParaRPr kumimoji="1" lang="en-US" altLang="ja-JP" sz="1400" dirty="0">
              <a:latin typeface="Trebuchet MS" panose="020B0603020202020204" pitchFamily="34" charset="0"/>
              <a:ea typeface="BIZ UDPゴシック" panose="020B0400000000000000" pitchFamily="50" charset="-128"/>
              <a:sym typeface="BIZ UDPゴシック" panose="020B0400000000000000" pitchFamily="50" charset="-128"/>
            </a:endParaRP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誹謗中傷、著作権</a:t>
            </a:r>
            <a:r>
              <a:rPr kumimoji="1" lang="en-US" altLang="ja-JP" sz="1400" dirty="0">
                <a:latin typeface="Trebuchet MS" panose="020B0603020202020204" pitchFamily="34" charset="0"/>
                <a:ea typeface="BIZ UDPゴシック" panose="020B0400000000000000" pitchFamily="50" charset="-128"/>
                <a:sym typeface="BIZ UDPゴシック" panose="020B0400000000000000" pitchFamily="50" charset="-128"/>
              </a:rPr>
              <a:t>/</a:t>
            </a: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肖像権侵害</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lvl="1">
              <a:buClr>
                <a:schemeClr val="tx2"/>
              </a:buCl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２つ目、トラブルに巻き込まれたら、家族・窓口などに相談す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11F5AE4E-1109-FBBA-EFCE-A04CDAA37506}"/>
              </a:ext>
            </a:extLst>
          </p:cNvPr>
          <p:cNvSpPr/>
          <p:nvPr/>
        </p:nvSpPr>
        <p:spPr bwMode="gray">
          <a:xfrm>
            <a:off x="5576552" y="281547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60AAC830-C5A5-407B-AD2C-B70C390DF51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F49B08BF-3957-46A8-9E2B-43DBBFBB9DAF}"/>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18FC8F19-0663-4326-B406-1F31615E305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AB4B4FE0-2381-4299-8CAD-6CA4A925448B}"/>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3449564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6220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2</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225444"/>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42F9EA2B-247C-4895-B3B4-2247BF20B265}"/>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2803469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476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995337"/>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の使い方次第では、社会にも悪影響を与えてしまうこと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４では、社会をリスクから守るためにはどうすればよいかを</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264741"/>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4</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社会に大きな影響を与える、ニセ・誤情報についての理解を深めてもらいましょう。</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災害対応の妨害など、実際に社会に悪影響を与えた事例を紹介し、自分がだまされないだけでなく、</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一人ひとりが情報の信頼性を見極め、ニセ・誤情報を拡散しないことが大切であることをしっかり伝え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D4B1352C-BF5F-46AC-96E5-7E3ABADC0AB1}"/>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5565565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30360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社会をリスクから守るためにはどうすればよい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747676"/>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44D4BE3C-00C8-4DC8-A5CF-80743978140C}"/>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352637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06198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にはたくさんの情報があふれています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事実かどうかがわからない情報が増えると、信頼性ある情報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埋もれてしまうなど、社会に大きな影響を与え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さえだまされなければ良いのではなく、情報を広める前に、情報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検証をしたり、拡散してもよい情報なのかを考えることで、社会への悪影響を与えないことも重要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人ひとりのインターネットの使い方が大きな影響をもたらすこと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忘れず、慎重に行動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815935"/>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BBB1CBF5-D221-4BCE-B0EB-70BDAC880B02}"/>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234826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4586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とはどんな情報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情報とは、意図的・意識的に作られたウソの情報を指して、誤情報とは、勘違いや誤解により広まってしまった、間違い情報のことを指し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が増えている背景の一つに、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普及が挙げられます。</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より、特殊な技術がなくても、もっともらし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画像・映像・音声・ニュース記事などを作成できるようになったこ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正しくない回答をする場合があることなどがニセ情報・誤情報の増加につながっているといわれ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815935"/>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例えば、生成</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AI</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が作った画像やニュース記事などの実例を紹介するなど、ニセ・誤情報を見極めることがいかに</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難しくなっているか、受講者に分かりやすく伝える工夫をしてみましょう。</a:t>
              </a:r>
              <a:endParaRPr lang="ja-JP" altLang="en-US" sz="1600" b="1" strike="sngStrike"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855F31E3-812F-4719-A039-237B21A3CD00}"/>
              </a:ext>
            </a:extLst>
          </p:cNvPr>
          <p:cNvPicPr>
            <a:picLocks noChangeAspect="1"/>
          </p:cNvPicPr>
          <p:nvPr/>
        </p:nvPicPr>
        <p:blipFill rotWithShape="1">
          <a:blip r:embed="rId6"/>
          <a:srcRect l="965" t="961" r="957"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275141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7976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4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はニセ・誤情報なんてそう簡単にだまされない、拡散しないと思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いません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に係る調査において、ニセ・誤情報に出会ったとき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の情報は嘘だ」と正しく判断できた人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つま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8</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が「ニセ・誤情報」に気づけないという結果が出てい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ニセ情報・誤情報を見聞きした後に他人に伝えたかどうかを確認した調査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２人は拡散してしまったという結果も出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5740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77DD543F-AAB7-4B9B-A2CA-ECE192A399D2}"/>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650658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7028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0)</a:t>
            </a:r>
            <a:endParaRPr lang="en-US" sz="2800" b="0"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はなぜ拡散されやすいの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には「誰かに言いたいな！」、「こうだったらいいな</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が思い込んだものを信じてしまう傾向があり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の現象は、「認知バイアス」と呼ばれ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は、認知バイアスに働きかける、誰かに教えたい要素や感情に訴える要素を持っているため、共感・拡散されやすくな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298870"/>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5" name="Picture 14">
            <a:extLst>
              <a:ext uri="{FF2B5EF4-FFF2-40B4-BE49-F238E27FC236}">
                <a16:creationId xmlns:a16="http://schemas.microsoft.com/office/drawing/2014/main" id="{2B006862-C8DF-4C45-A7FF-BED09FA948EC}"/>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88452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8AD51-CE84-308A-BD29-943756A2BC8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B5913E9-C069-8AD2-0DDA-83BF115994F9}"/>
              </a:ext>
            </a:extLst>
          </p:cNvPr>
          <p:cNvGraphicFramePr>
            <a:graphicFrameLocks noChangeAspect="1"/>
          </p:cNvGraphicFramePr>
          <p:nvPr>
            <p:custDataLst>
              <p:tags r:id="rId1"/>
            </p:custDataLst>
            <p:extLst>
              <p:ext uri="{D42A27DB-BD31-4B8C-83A1-F6EECF244321}">
                <p14:modId xmlns:p14="http://schemas.microsoft.com/office/powerpoint/2010/main" val="223553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AB5913E9-C069-8AD2-0DDA-83BF115994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83D66EBD-43EE-8B5C-0D93-8D8DAB1FF93A}"/>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latin typeface="BIZ UDPゴシック" panose="020B0400000000000000" pitchFamily="50" charset="-128"/>
              </a:rPr>
              <a:t>教材の構成</a:t>
            </a:r>
          </a:p>
        </p:txBody>
      </p:sp>
      <p:sp>
        <p:nvSpPr>
          <p:cNvPr id="2" name="Slide Number Placeholder 1">
            <a:extLst>
              <a:ext uri="{FF2B5EF4-FFF2-40B4-BE49-F238E27FC236}">
                <a16:creationId xmlns:a16="http://schemas.microsoft.com/office/drawing/2014/main" id="{91B83378-74E3-968B-AADD-A6841052DB9A}"/>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solidFill>
                  <a:schemeClr val="tx1"/>
                </a:solidFill>
              </a:rPr>
              <a:pPr/>
              <a:t>5</a:t>
            </a:fld>
            <a:endParaRPr lang="ja-JP" altLang="en-US">
              <a:solidFill>
                <a:schemeClr val="tx1"/>
              </a:solidFill>
            </a:endParaRPr>
          </a:p>
        </p:txBody>
      </p:sp>
      <p:sp>
        <p:nvSpPr>
          <p:cNvPr id="113" name="Rectangle 112" hidden="1">
            <a:extLst>
              <a:ext uri="{FF2B5EF4-FFF2-40B4-BE49-F238E27FC236}">
                <a16:creationId xmlns:a16="http://schemas.microsoft.com/office/drawing/2014/main" id="{FED12327-8504-CD36-2D5C-D9570A1BA5EC}"/>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 name="Group 2">
            <a:extLst>
              <a:ext uri="{FF2B5EF4-FFF2-40B4-BE49-F238E27FC236}">
                <a16:creationId xmlns:a16="http://schemas.microsoft.com/office/drawing/2014/main" id="{E18234FC-DF83-491C-C7B0-F95A6394E31E}"/>
              </a:ext>
            </a:extLst>
          </p:cNvPr>
          <p:cNvGrpSpPr/>
          <p:nvPr/>
        </p:nvGrpSpPr>
        <p:grpSpPr bwMode="gray">
          <a:xfrm>
            <a:off x="596897" y="990600"/>
            <a:ext cx="10966452" cy="5422900"/>
            <a:chOff x="596897" y="990600"/>
            <a:chExt cx="10966452" cy="5422900"/>
          </a:xfrm>
        </p:grpSpPr>
        <p:sp>
          <p:nvSpPr>
            <p:cNvPr id="4" name="Rectangle: Top Corners Rounded 3">
              <a:extLst>
                <a:ext uri="{FF2B5EF4-FFF2-40B4-BE49-F238E27FC236}">
                  <a16:creationId xmlns:a16="http://schemas.microsoft.com/office/drawing/2014/main" id="{405140C9-29BF-DFD4-6645-FBF552AB6FF3}"/>
                </a:ext>
              </a:extLst>
            </p:cNvPr>
            <p:cNvSpPr/>
            <p:nvPr/>
          </p:nvSpPr>
          <p:spPr bwMode="gray">
            <a:xfrm>
              <a:off x="5619750" y="990600"/>
              <a:ext cx="5943599" cy="5410200"/>
            </a:xfrm>
            <a:prstGeom prst="round2SameRect">
              <a:avLst>
                <a:gd name="adj1" fmla="val 1376"/>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B1D2BD0A-787F-2175-2F73-56D15273ED45}"/>
                </a:ext>
              </a:extLst>
            </p:cNvPr>
            <p:cNvSpPr/>
            <p:nvPr/>
          </p:nvSpPr>
          <p:spPr bwMode="gray">
            <a:xfrm>
              <a:off x="5746748" y="1587501"/>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3D410413-E866-F2DF-5247-639B2CC5F06C}"/>
                </a:ext>
              </a:extLst>
            </p:cNvPr>
            <p:cNvSpPr/>
            <p:nvPr/>
          </p:nvSpPr>
          <p:spPr bwMode="gray">
            <a:xfrm>
              <a:off x="5746748" y="2533135"/>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Rectangle: Rounded Corners 13">
              <a:extLst>
                <a:ext uri="{FF2B5EF4-FFF2-40B4-BE49-F238E27FC236}">
                  <a16:creationId xmlns:a16="http://schemas.microsoft.com/office/drawing/2014/main" id="{F41E2D91-4F40-0478-7619-29EE4110C012}"/>
                </a:ext>
              </a:extLst>
            </p:cNvPr>
            <p:cNvSpPr/>
            <p:nvPr/>
          </p:nvSpPr>
          <p:spPr bwMode="gray">
            <a:xfrm>
              <a:off x="5746748" y="3478769"/>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Rectangle: Rounded Corners 14">
              <a:extLst>
                <a:ext uri="{FF2B5EF4-FFF2-40B4-BE49-F238E27FC236}">
                  <a16:creationId xmlns:a16="http://schemas.microsoft.com/office/drawing/2014/main" id="{074011AA-554E-0ABD-BE0F-64CB0092AB10}"/>
                </a:ext>
              </a:extLst>
            </p:cNvPr>
            <p:cNvSpPr/>
            <p:nvPr/>
          </p:nvSpPr>
          <p:spPr bwMode="gray">
            <a:xfrm>
              <a:off x="5746748" y="4424403"/>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Rectangle: Rounded Corners 20">
              <a:extLst>
                <a:ext uri="{FF2B5EF4-FFF2-40B4-BE49-F238E27FC236}">
                  <a16:creationId xmlns:a16="http://schemas.microsoft.com/office/drawing/2014/main" id="{D828835E-8620-F49B-6211-433BE6E25CA9}"/>
                </a:ext>
              </a:extLst>
            </p:cNvPr>
            <p:cNvSpPr/>
            <p:nvPr/>
          </p:nvSpPr>
          <p:spPr bwMode="gray">
            <a:xfrm>
              <a:off x="5746748" y="5370037"/>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Rectangle: Top Corners Rounded 21">
              <a:extLst>
                <a:ext uri="{FF2B5EF4-FFF2-40B4-BE49-F238E27FC236}">
                  <a16:creationId xmlns:a16="http://schemas.microsoft.com/office/drawing/2014/main" id="{72D487A4-A389-BBE2-9DE6-EA253497A9A7}"/>
                </a:ext>
              </a:extLst>
            </p:cNvPr>
            <p:cNvSpPr/>
            <p:nvPr/>
          </p:nvSpPr>
          <p:spPr bwMode="gray">
            <a:xfrm>
              <a:off x="596897" y="1003300"/>
              <a:ext cx="4927603" cy="5410200"/>
            </a:xfrm>
            <a:prstGeom prst="round2SameRect">
              <a:avLst>
                <a:gd name="adj1" fmla="val 1483"/>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23" name="bcgIcons_School ">
              <a:extLst>
                <a:ext uri="{FF2B5EF4-FFF2-40B4-BE49-F238E27FC236}">
                  <a16:creationId xmlns:a16="http://schemas.microsoft.com/office/drawing/2014/main" id="{C0948583-1DCB-26E3-D5FB-3490143F9570}"/>
                </a:ext>
              </a:extLst>
            </p:cNvPr>
            <p:cNvGrpSpPr>
              <a:grpSpLocks noChangeAspect="1"/>
            </p:cNvGrpSpPr>
            <p:nvPr/>
          </p:nvGrpSpPr>
          <p:grpSpPr bwMode="gray">
            <a:xfrm>
              <a:off x="764002" y="1054162"/>
              <a:ext cx="470228" cy="469776"/>
              <a:chOff x="5273675" y="2606675"/>
              <a:chExt cx="1646238" cy="1644650"/>
            </a:xfrm>
          </p:grpSpPr>
          <p:sp>
            <p:nvSpPr>
              <p:cNvPr id="89" name="AutoShape 3">
                <a:extLst>
                  <a:ext uri="{FF2B5EF4-FFF2-40B4-BE49-F238E27FC236}">
                    <a16:creationId xmlns:a16="http://schemas.microsoft.com/office/drawing/2014/main" id="{3F2083D2-8B11-9D84-D3FA-304370D23503}"/>
                  </a:ext>
                </a:extLst>
              </p:cNvPr>
              <p:cNvSpPr>
                <a:spLocks noChangeAspect="1"/>
              </p:cNvSpPr>
              <p:nvPr/>
            </p:nvSpPr>
            <p:spPr bwMode="gray">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90" name="Group 89">
                <a:extLst>
                  <a:ext uri="{FF2B5EF4-FFF2-40B4-BE49-F238E27FC236}">
                    <a16:creationId xmlns:a16="http://schemas.microsoft.com/office/drawing/2014/main" id="{7B7DF031-5EA1-444E-055A-212E2CE785D1}"/>
                  </a:ext>
                </a:extLst>
              </p:cNvPr>
              <p:cNvGrpSpPr>
                <a:grpSpLocks/>
              </p:cNvGrpSpPr>
              <p:nvPr/>
            </p:nvGrpSpPr>
            <p:grpSpPr bwMode="gray">
              <a:xfrm>
                <a:off x="5346302" y="2868613"/>
                <a:ext cx="1504356" cy="1214437"/>
                <a:chOff x="5346302" y="2868613"/>
                <a:chExt cx="1504356" cy="1214437"/>
              </a:xfrm>
            </p:grpSpPr>
            <p:sp>
              <p:nvSpPr>
                <p:cNvPr id="91" name="Freeform 5">
                  <a:extLst>
                    <a:ext uri="{FF2B5EF4-FFF2-40B4-BE49-F238E27FC236}">
                      <a16:creationId xmlns:a16="http://schemas.microsoft.com/office/drawing/2014/main" id="{66D6883F-BBD6-9490-9649-2ACAA46AA008}"/>
                    </a:ext>
                  </a:extLst>
                </p:cNvPr>
                <p:cNvSpPr>
                  <a:spLocks/>
                </p:cNvSpPr>
                <p:nvPr/>
              </p:nvSpPr>
              <p:spPr bwMode="gray">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2" name="Freeform 11">
                  <a:extLst>
                    <a:ext uri="{FF2B5EF4-FFF2-40B4-BE49-F238E27FC236}">
                      <a16:creationId xmlns:a16="http://schemas.microsoft.com/office/drawing/2014/main" id="{64C46851-654F-5A18-C4B2-4DEC8F350C54}"/>
                    </a:ext>
                  </a:extLst>
                </p:cNvPr>
                <p:cNvSpPr>
                  <a:spLocks/>
                </p:cNvSpPr>
                <p:nvPr/>
              </p:nvSpPr>
              <p:spPr bwMode="gray">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24" name="Rectangle: Rounded Corners 23">
              <a:extLst>
                <a:ext uri="{FF2B5EF4-FFF2-40B4-BE49-F238E27FC236}">
                  <a16:creationId xmlns:a16="http://schemas.microsoft.com/office/drawing/2014/main" id="{1E622540-31A0-FD64-C7D6-E9D9F0F422CC}"/>
                </a:ext>
              </a:extLst>
            </p:cNvPr>
            <p:cNvSpPr/>
            <p:nvPr/>
          </p:nvSpPr>
          <p:spPr bwMode="gray">
            <a:xfrm>
              <a:off x="723896" y="1587501"/>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正方形/長方形 14">
              <a:extLst>
                <a:ext uri="{FF2B5EF4-FFF2-40B4-BE49-F238E27FC236}">
                  <a16:creationId xmlns:a16="http://schemas.microsoft.com/office/drawing/2014/main" id="{75EB3A39-296E-79EB-6A17-FD994A15E336}"/>
                </a:ext>
              </a:extLst>
            </p:cNvPr>
            <p:cNvSpPr/>
            <p:nvPr/>
          </p:nvSpPr>
          <p:spPr bwMode="gray">
            <a:xfrm>
              <a:off x="6159500" y="1744259"/>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身近な事例と共に理解することで、</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な対応力を身につけ、とるべき行動を知ってもらう</a:t>
              </a:r>
            </a:p>
          </p:txBody>
        </p:sp>
        <p:sp>
          <p:nvSpPr>
            <p:cNvPr id="36" name="テキスト ボックス 2">
              <a:extLst>
                <a:ext uri="{FF2B5EF4-FFF2-40B4-BE49-F238E27FC236}">
                  <a16:creationId xmlns:a16="http://schemas.microsoft.com/office/drawing/2014/main" id="{13D2DF80-767D-55CF-FA58-D4C0B4F13E2A}"/>
                </a:ext>
              </a:extLst>
            </p:cNvPr>
            <p:cNvSpPr txBox="1">
              <a:spLocks noChangeAspect="1"/>
            </p:cNvSpPr>
            <p:nvPr/>
          </p:nvSpPr>
          <p:spPr bwMode="gray">
            <a:xfrm>
              <a:off x="788737" y="1865169"/>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7" name="テキスト ボックス 1">
              <a:extLst>
                <a:ext uri="{FF2B5EF4-FFF2-40B4-BE49-F238E27FC236}">
                  <a16:creationId xmlns:a16="http://schemas.microsoft.com/office/drawing/2014/main" id="{D9030F57-3A93-400A-7DA9-6C833466548E}"/>
                </a:ext>
              </a:extLst>
            </p:cNvPr>
            <p:cNvSpPr txBox="1"/>
            <p:nvPr/>
          </p:nvSpPr>
          <p:spPr bwMode="gray">
            <a:xfrm>
              <a:off x="1924226" y="1750831"/>
              <a:ext cx="3501600" cy="553998"/>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9" name="Group 38">
              <a:extLst>
                <a:ext uri="{FF2B5EF4-FFF2-40B4-BE49-F238E27FC236}">
                  <a16:creationId xmlns:a16="http://schemas.microsoft.com/office/drawing/2014/main" id="{D596AE72-0911-C427-0E33-CC8666CF9E1C}"/>
                </a:ext>
              </a:extLst>
            </p:cNvPr>
            <p:cNvGrpSpPr>
              <a:grpSpLocks noChangeAspect="1"/>
            </p:cNvGrpSpPr>
            <p:nvPr/>
          </p:nvGrpSpPr>
          <p:grpSpPr bwMode="gray">
            <a:xfrm>
              <a:off x="5844110" y="1914584"/>
              <a:ext cx="226490" cy="226490"/>
              <a:chOff x="982662" y="3868738"/>
              <a:chExt cx="269875" cy="269875"/>
            </a:xfrm>
          </p:grpSpPr>
          <p:sp>
            <p:nvSpPr>
              <p:cNvPr id="87" name="Oval 16">
                <a:extLst>
                  <a:ext uri="{FF2B5EF4-FFF2-40B4-BE49-F238E27FC236}">
                    <a16:creationId xmlns:a16="http://schemas.microsoft.com/office/drawing/2014/main" id="{3378DC1D-FC09-F47B-00D8-B5C867DCB775}"/>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8" name="Freeform 17">
                <a:extLst>
                  <a:ext uri="{FF2B5EF4-FFF2-40B4-BE49-F238E27FC236}">
                    <a16:creationId xmlns:a16="http://schemas.microsoft.com/office/drawing/2014/main" id="{12BE2CA6-E9F6-92C9-D1CD-74582CA7940F}"/>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40" name="Rectangle: Rounded Corners 39">
              <a:extLst>
                <a:ext uri="{FF2B5EF4-FFF2-40B4-BE49-F238E27FC236}">
                  <a16:creationId xmlns:a16="http://schemas.microsoft.com/office/drawing/2014/main" id="{4E058E5E-336C-63A9-F5EA-AF5240A07BF3}"/>
                </a:ext>
              </a:extLst>
            </p:cNvPr>
            <p:cNvSpPr/>
            <p:nvPr/>
          </p:nvSpPr>
          <p:spPr bwMode="gray">
            <a:xfrm>
              <a:off x="723896" y="2533135"/>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1" name="正方形/長方形 14">
              <a:extLst>
                <a:ext uri="{FF2B5EF4-FFF2-40B4-BE49-F238E27FC236}">
                  <a16:creationId xmlns:a16="http://schemas.microsoft.com/office/drawing/2014/main" id="{7B8D1F19-55C8-2608-07E5-F6C83FAAAFA5}"/>
                </a:ext>
              </a:extLst>
            </p:cNvPr>
            <p:cNvSpPr/>
            <p:nvPr/>
          </p:nvSpPr>
          <p:spPr bwMode="gray">
            <a:xfrm>
              <a:off x="6178551" y="2670843"/>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出会いやすいトラブルを紹介し、フィルタリングの活用や</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家庭内ルール作りなどを実践してもらう</a:t>
              </a:r>
            </a:p>
          </p:txBody>
        </p:sp>
        <p:sp>
          <p:nvSpPr>
            <p:cNvPr id="42" name="テキスト ボックス 4">
              <a:extLst>
                <a:ext uri="{FF2B5EF4-FFF2-40B4-BE49-F238E27FC236}">
                  <a16:creationId xmlns:a16="http://schemas.microsoft.com/office/drawing/2014/main" id="{81D23EA8-2905-CEAA-9362-29A7F1187BE1}"/>
                </a:ext>
              </a:extLst>
            </p:cNvPr>
            <p:cNvSpPr txBox="1">
              <a:spLocks noChangeAspect="1"/>
            </p:cNvSpPr>
            <p:nvPr/>
          </p:nvSpPr>
          <p:spPr bwMode="gray">
            <a:xfrm>
              <a:off x="788738" y="2812334"/>
              <a:ext cx="1051634" cy="319197"/>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dirty="0">
                  <a:sym typeface="BIZ UDPゴシック" panose="020B0400000000000000" pitchFamily="50" charset="-128"/>
                </a:rPr>
                <a:t>PART 2</a:t>
              </a:r>
            </a:p>
          </p:txBody>
        </p:sp>
        <p:sp>
          <p:nvSpPr>
            <p:cNvPr id="48" name="テキスト ボックス 5">
              <a:extLst>
                <a:ext uri="{FF2B5EF4-FFF2-40B4-BE49-F238E27FC236}">
                  <a16:creationId xmlns:a16="http://schemas.microsoft.com/office/drawing/2014/main" id="{9C226C03-2C4C-4D87-2340-DD92313606C2}"/>
                </a:ext>
              </a:extLst>
            </p:cNvPr>
            <p:cNvSpPr txBox="1"/>
            <p:nvPr/>
          </p:nvSpPr>
          <p:spPr bwMode="gray">
            <a:xfrm>
              <a:off x="1924226" y="2696465"/>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49" name="Group 48">
              <a:extLst>
                <a:ext uri="{FF2B5EF4-FFF2-40B4-BE49-F238E27FC236}">
                  <a16:creationId xmlns:a16="http://schemas.microsoft.com/office/drawing/2014/main" id="{BA057AB8-6FA9-4485-08EF-4E3AF2E19653}"/>
                </a:ext>
              </a:extLst>
            </p:cNvPr>
            <p:cNvGrpSpPr>
              <a:grpSpLocks noChangeAspect="1"/>
            </p:cNvGrpSpPr>
            <p:nvPr/>
          </p:nvGrpSpPr>
          <p:grpSpPr bwMode="gray">
            <a:xfrm>
              <a:off x="5844110" y="2860218"/>
              <a:ext cx="226490" cy="226490"/>
              <a:chOff x="982662" y="3868738"/>
              <a:chExt cx="269875" cy="269875"/>
            </a:xfrm>
          </p:grpSpPr>
          <p:sp>
            <p:nvSpPr>
              <p:cNvPr id="85" name="Oval 16">
                <a:extLst>
                  <a:ext uri="{FF2B5EF4-FFF2-40B4-BE49-F238E27FC236}">
                    <a16:creationId xmlns:a16="http://schemas.microsoft.com/office/drawing/2014/main" id="{691EABEB-A11D-F316-F2EB-D4E69755670A}"/>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6" name="Freeform 17">
                <a:extLst>
                  <a:ext uri="{FF2B5EF4-FFF2-40B4-BE49-F238E27FC236}">
                    <a16:creationId xmlns:a16="http://schemas.microsoft.com/office/drawing/2014/main" id="{BE559163-8CA6-3D53-2B3F-EB584FCC058D}"/>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54" name="Rectangle: Rounded Corners 53">
              <a:extLst>
                <a:ext uri="{FF2B5EF4-FFF2-40B4-BE49-F238E27FC236}">
                  <a16:creationId xmlns:a16="http://schemas.microsoft.com/office/drawing/2014/main" id="{2448221B-BD08-AC96-98F6-F5AE45ED7C2A}"/>
                </a:ext>
              </a:extLst>
            </p:cNvPr>
            <p:cNvSpPr/>
            <p:nvPr/>
          </p:nvSpPr>
          <p:spPr bwMode="gray">
            <a:xfrm>
              <a:off x="723896" y="3478769"/>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5" name="正方形/長方形 14">
              <a:extLst>
                <a:ext uri="{FF2B5EF4-FFF2-40B4-BE49-F238E27FC236}">
                  <a16:creationId xmlns:a16="http://schemas.microsoft.com/office/drawing/2014/main" id="{B51A1688-87DF-268E-125B-B4D8480FC022}"/>
                </a:ext>
              </a:extLst>
            </p:cNvPr>
            <p:cNvSpPr/>
            <p:nvPr/>
          </p:nvSpPr>
          <p:spPr bwMode="gray">
            <a:xfrm>
              <a:off x="6178550" y="3616477"/>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情報発信時の注意や、トラブルに対応する具体的な行動を</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sp>
          <p:nvSpPr>
            <p:cNvPr id="56" name="テキスト ボックス 6">
              <a:extLst>
                <a:ext uri="{FF2B5EF4-FFF2-40B4-BE49-F238E27FC236}">
                  <a16:creationId xmlns:a16="http://schemas.microsoft.com/office/drawing/2014/main" id="{099B7129-0AF1-0AAC-C308-3ECB8CD25EB1}"/>
                </a:ext>
              </a:extLst>
            </p:cNvPr>
            <p:cNvSpPr txBox="1">
              <a:spLocks noChangeAspect="1"/>
            </p:cNvSpPr>
            <p:nvPr/>
          </p:nvSpPr>
          <p:spPr bwMode="gray">
            <a:xfrm>
              <a:off x="788737" y="3753374"/>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57" name="テキスト ボックス 7">
              <a:extLst>
                <a:ext uri="{FF2B5EF4-FFF2-40B4-BE49-F238E27FC236}">
                  <a16:creationId xmlns:a16="http://schemas.microsoft.com/office/drawing/2014/main" id="{244293DC-789D-55C6-E817-8574E55E0655}"/>
                </a:ext>
              </a:extLst>
            </p:cNvPr>
            <p:cNvSpPr txBox="1"/>
            <p:nvPr/>
          </p:nvSpPr>
          <p:spPr bwMode="gray">
            <a:xfrm>
              <a:off x="1924226" y="3642099"/>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58" name="Group 57">
              <a:extLst>
                <a:ext uri="{FF2B5EF4-FFF2-40B4-BE49-F238E27FC236}">
                  <a16:creationId xmlns:a16="http://schemas.microsoft.com/office/drawing/2014/main" id="{8BE95128-497B-2CBD-AC04-36636F0D7F96}"/>
                </a:ext>
              </a:extLst>
            </p:cNvPr>
            <p:cNvGrpSpPr>
              <a:grpSpLocks noChangeAspect="1"/>
            </p:cNvGrpSpPr>
            <p:nvPr/>
          </p:nvGrpSpPr>
          <p:grpSpPr bwMode="gray">
            <a:xfrm>
              <a:off x="5844110" y="3805852"/>
              <a:ext cx="226490" cy="226490"/>
              <a:chOff x="982662" y="3868738"/>
              <a:chExt cx="269875" cy="269875"/>
            </a:xfrm>
          </p:grpSpPr>
          <p:sp>
            <p:nvSpPr>
              <p:cNvPr id="83" name="Oval 16">
                <a:extLst>
                  <a:ext uri="{FF2B5EF4-FFF2-40B4-BE49-F238E27FC236}">
                    <a16:creationId xmlns:a16="http://schemas.microsoft.com/office/drawing/2014/main" id="{14522296-02F4-AEAB-BB5E-91E57290B506}"/>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4" name="Freeform 17">
                <a:extLst>
                  <a:ext uri="{FF2B5EF4-FFF2-40B4-BE49-F238E27FC236}">
                    <a16:creationId xmlns:a16="http://schemas.microsoft.com/office/drawing/2014/main" id="{A3FF9FC8-BC53-16E6-D9FA-E0C76CC6635A}"/>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59" name="Rectangle: Rounded Corners 58">
              <a:extLst>
                <a:ext uri="{FF2B5EF4-FFF2-40B4-BE49-F238E27FC236}">
                  <a16:creationId xmlns:a16="http://schemas.microsoft.com/office/drawing/2014/main" id="{45E0EE45-92B9-4C47-3684-C0F795EDC6E5}"/>
                </a:ext>
              </a:extLst>
            </p:cNvPr>
            <p:cNvSpPr/>
            <p:nvPr/>
          </p:nvSpPr>
          <p:spPr bwMode="gray">
            <a:xfrm>
              <a:off x="723896" y="4424403"/>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0" name="正方形/長方形 14">
              <a:extLst>
                <a:ext uri="{FF2B5EF4-FFF2-40B4-BE49-F238E27FC236}">
                  <a16:creationId xmlns:a16="http://schemas.microsoft.com/office/drawing/2014/main" id="{DD66F8C1-D5B0-2A80-7817-001955643172}"/>
                </a:ext>
              </a:extLst>
            </p:cNvPr>
            <p:cNvSpPr/>
            <p:nvPr/>
          </p:nvSpPr>
          <p:spPr bwMode="gray">
            <a:xfrm>
              <a:off x="6178550" y="4562111"/>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とは何かを理解し、情報を適切に扱う力を</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身につけてもらう</a:t>
              </a:r>
            </a:p>
          </p:txBody>
        </p:sp>
        <p:sp>
          <p:nvSpPr>
            <p:cNvPr id="63" name="テキスト ボックス 8">
              <a:extLst>
                <a:ext uri="{FF2B5EF4-FFF2-40B4-BE49-F238E27FC236}">
                  <a16:creationId xmlns:a16="http://schemas.microsoft.com/office/drawing/2014/main" id="{DD90C4E0-B2C8-AE19-F10B-68A0B88E0926}"/>
                </a:ext>
              </a:extLst>
            </p:cNvPr>
            <p:cNvSpPr txBox="1">
              <a:spLocks noChangeAspect="1"/>
            </p:cNvSpPr>
            <p:nvPr/>
          </p:nvSpPr>
          <p:spPr bwMode="gray">
            <a:xfrm>
              <a:off x="788737" y="4702070"/>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65" name="テキスト ボックス 7">
              <a:extLst>
                <a:ext uri="{FF2B5EF4-FFF2-40B4-BE49-F238E27FC236}">
                  <a16:creationId xmlns:a16="http://schemas.microsoft.com/office/drawing/2014/main" id="{645266F3-7C23-CF65-EEB2-7D5981DBA830}"/>
                </a:ext>
              </a:extLst>
            </p:cNvPr>
            <p:cNvSpPr txBox="1"/>
            <p:nvPr/>
          </p:nvSpPr>
          <p:spPr bwMode="gray">
            <a:xfrm>
              <a:off x="1924226" y="4587732"/>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66" name="Group 65">
              <a:extLst>
                <a:ext uri="{FF2B5EF4-FFF2-40B4-BE49-F238E27FC236}">
                  <a16:creationId xmlns:a16="http://schemas.microsoft.com/office/drawing/2014/main" id="{E579B1B8-734A-D9E8-F17A-6415C56BA7FB}"/>
                </a:ext>
              </a:extLst>
            </p:cNvPr>
            <p:cNvGrpSpPr>
              <a:grpSpLocks noChangeAspect="1"/>
            </p:cNvGrpSpPr>
            <p:nvPr/>
          </p:nvGrpSpPr>
          <p:grpSpPr bwMode="gray">
            <a:xfrm>
              <a:off x="5844110" y="4751486"/>
              <a:ext cx="226490" cy="226490"/>
              <a:chOff x="982662" y="3868738"/>
              <a:chExt cx="269875" cy="269875"/>
            </a:xfrm>
          </p:grpSpPr>
          <p:sp>
            <p:nvSpPr>
              <p:cNvPr id="81" name="Oval 16">
                <a:extLst>
                  <a:ext uri="{FF2B5EF4-FFF2-40B4-BE49-F238E27FC236}">
                    <a16:creationId xmlns:a16="http://schemas.microsoft.com/office/drawing/2014/main" id="{BCE32789-7B51-4825-CCC2-A1BFEE84E514}"/>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2" name="Freeform 17">
                <a:extLst>
                  <a:ext uri="{FF2B5EF4-FFF2-40B4-BE49-F238E27FC236}">
                    <a16:creationId xmlns:a16="http://schemas.microsoft.com/office/drawing/2014/main" id="{B199A42C-8DA7-EB09-6383-FB2CD69EFEEE}"/>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67" name="Rectangle: Rounded Corners 66">
              <a:extLst>
                <a:ext uri="{FF2B5EF4-FFF2-40B4-BE49-F238E27FC236}">
                  <a16:creationId xmlns:a16="http://schemas.microsoft.com/office/drawing/2014/main" id="{33A39E01-2CC3-1D57-A23D-BA3F2F8901F0}"/>
                </a:ext>
              </a:extLst>
            </p:cNvPr>
            <p:cNvSpPr/>
            <p:nvPr/>
          </p:nvSpPr>
          <p:spPr bwMode="gray">
            <a:xfrm>
              <a:off x="723896" y="5370037"/>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14">
              <a:extLst>
                <a:ext uri="{FF2B5EF4-FFF2-40B4-BE49-F238E27FC236}">
                  <a16:creationId xmlns:a16="http://schemas.microsoft.com/office/drawing/2014/main" id="{27992904-2652-CC7D-8F3D-A21A918C1309}"/>
                </a:ext>
              </a:extLst>
            </p:cNvPr>
            <p:cNvSpPr/>
            <p:nvPr/>
          </p:nvSpPr>
          <p:spPr bwMode="gray">
            <a:xfrm>
              <a:off x="6178550" y="5507746"/>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した便利なサービスを知り、積極的に</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てもらう</a:t>
              </a:r>
            </a:p>
          </p:txBody>
        </p:sp>
        <p:sp>
          <p:nvSpPr>
            <p:cNvPr id="70" name="テキスト ボックス 3">
              <a:extLst>
                <a:ext uri="{FF2B5EF4-FFF2-40B4-BE49-F238E27FC236}">
                  <a16:creationId xmlns:a16="http://schemas.microsoft.com/office/drawing/2014/main" id="{DDB8B691-9C29-5CE9-1EBE-044CE9282D47}"/>
                </a:ext>
              </a:extLst>
            </p:cNvPr>
            <p:cNvSpPr txBox="1"/>
            <p:nvPr/>
          </p:nvSpPr>
          <p:spPr bwMode="gray">
            <a:xfrm>
              <a:off x="1924226" y="5533367"/>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テキスト ボックス 8">
              <a:extLst>
                <a:ext uri="{FF2B5EF4-FFF2-40B4-BE49-F238E27FC236}">
                  <a16:creationId xmlns:a16="http://schemas.microsoft.com/office/drawing/2014/main" id="{8EFCB710-0841-6705-0D67-7FB1EA901DE0}"/>
                </a:ext>
              </a:extLst>
            </p:cNvPr>
            <p:cNvSpPr txBox="1">
              <a:spLocks noChangeAspect="1"/>
            </p:cNvSpPr>
            <p:nvPr/>
          </p:nvSpPr>
          <p:spPr bwMode="gray">
            <a:xfrm>
              <a:off x="788737" y="5647705"/>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grpSp>
          <p:nvGrpSpPr>
            <p:cNvPr id="72" name="Group 71">
              <a:extLst>
                <a:ext uri="{FF2B5EF4-FFF2-40B4-BE49-F238E27FC236}">
                  <a16:creationId xmlns:a16="http://schemas.microsoft.com/office/drawing/2014/main" id="{27C1D663-FF61-57C9-EE50-558EFDB8430C}"/>
                </a:ext>
              </a:extLst>
            </p:cNvPr>
            <p:cNvGrpSpPr>
              <a:grpSpLocks noChangeAspect="1"/>
            </p:cNvGrpSpPr>
            <p:nvPr/>
          </p:nvGrpSpPr>
          <p:grpSpPr bwMode="gray">
            <a:xfrm>
              <a:off x="5844110" y="5697121"/>
              <a:ext cx="226490" cy="226490"/>
              <a:chOff x="982662" y="3868738"/>
              <a:chExt cx="269875" cy="269875"/>
            </a:xfrm>
          </p:grpSpPr>
          <p:sp>
            <p:nvSpPr>
              <p:cNvPr id="79" name="Oval 16">
                <a:extLst>
                  <a:ext uri="{FF2B5EF4-FFF2-40B4-BE49-F238E27FC236}">
                    <a16:creationId xmlns:a16="http://schemas.microsoft.com/office/drawing/2014/main" id="{C13B56AA-75B0-E93F-975C-2E00DAA1489D}"/>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0" name="Freeform 17">
                <a:extLst>
                  <a:ext uri="{FF2B5EF4-FFF2-40B4-BE49-F238E27FC236}">
                    <a16:creationId xmlns:a16="http://schemas.microsoft.com/office/drawing/2014/main" id="{C3040693-92C9-76A0-8CBC-BC0E5D4E31EC}"/>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73" name="Rectangle 72">
              <a:extLst>
                <a:ext uri="{FF2B5EF4-FFF2-40B4-BE49-F238E27FC236}">
                  <a16:creationId xmlns:a16="http://schemas.microsoft.com/office/drawing/2014/main" id="{B0D30B1C-52EA-A484-E646-DA8B5A536AA4}"/>
                </a:ext>
              </a:extLst>
            </p:cNvPr>
            <p:cNvSpPr/>
            <p:nvPr/>
          </p:nvSpPr>
          <p:spPr bwMode="gray">
            <a:xfrm>
              <a:off x="1409700" y="1150551"/>
              <a:ext cx="4041526"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教材の目次</a:t>
              </a:r>
            </a:p>
          </p:txBody>
        </p:sp>
        <p:sp>
          <p:nvSpPr>
            <p:cNvPr id="74" name="Rectangle 73">
              <a:extLst>
                <a:ext uri="{FF2B5EF4-FFF2-40B4-BE49-F238E27FC236}">
                  <a16:creationId xmlns:a16="http://schemas.microsoft.com/office/drawing/2014/main" id="{622126ED-2F9D-720E-8CBE-2A4D7ECD1028}"/>
                </a:ext>
              </a:extLst>
            </p:cNvPr>
            <p:cNvSpPr/>
            <p:nvPr/>
          </p:nvSpPr>
          <p:spPr bwMode="gray">
            <a:xfrm>
              <a:off x="6273800" y="1150551"/>
              <a:ext cx="5073652"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各</a:t>
              </a:r>
              <a:r>
                <a:rPr kumimoji="1" lang="en-US" altLang="ja-JP"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の目的</a:t>
              </a:r>
            </a:p>
          </p:txBody>
        </p:sp>
        <p:grpSp>
          <p:nvGrpSpPr>
            <p:cNvPr id="75" name="bcgIcons_Target ">
              <a:extLst>
                <a:ext uri="{FF2B5EF4-FFF2-40B4-BE49-F238E27FC236}">
                  <a16:creationId xmlns:a16="http://schemas.microsoft.com/office/drawing/2014/main" id="{DD693132-498D-B75C-A175-1EE8CC3927CF}"/>
                </a:ext>
              </a:extLst>
            </p:cNvPr>
            <p:cNvGrpSpPr>
              <a:grpSpLocks noChangeAspect="1"/>
            </p:cNvGrpSpPr>
            <p:nvPr/>
          </p:nvGrpSpPr>
          <p:grpSpPr bwMode="gray">
            <a:xfrm>
              <a:off x="5680456" y="1007994"/>
              <a:ext cx="561594" cy="562114"/>
              <a:chOff x="1682" y="0"/>
              <a:chExt cx="4316" cy="4320"/>
            </a:xfrm>
          </p:grpSpPr>
          <p:sp>
            <p:nvSpPr>
              <p:cNvPr id="76" name="AutoShape 23">
                <a:extLst>
                  <a:ext uri="{FF2B5EF4-FFF2-40B4-BE49-F238E27FC236}">
                    <a16:creationId xmlns:a16="http://schemas.microsoft.com/office/drawing/2014/main" id="{AFB790AC-8734-4C7D-5E6C-1D8F4AC24F50}"/>
                  </a:ext>
                </a:extLst>
              </p:cNvPr>
              <p:cNvSpPr>
                <a:spLocks noChangeAspect="1" noChangeArrowheads="1" noTextEdit="1"/>
              </p:cNvSpPr>
              <p:nvPr/>
            </p:nvSpPr>
            <p:spPr bwMode="gray">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5">
                <a:extLst>
                  <a:ext uri="{FF2B5EF4-FFF2-40B4-BE49-F238E27FC236}">
                    <a16:creationId xmlns:a16="http://schemas.microsoft.com/office/drawing/2014/main" id="{DC302097-3AB7-0AF1-8A14-32C639E60FD7}"/>
                  </a:ext>
                </a:extLst>
              </p:cNvPr>
              <p:cNvSpPr>
                <a:spLocks noEditPoints="1"/>
              </p:cNvSpPr>
              <p:nvPr/>
            </p:nvSpPr>
            <p:spPr bwMode="gray">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78" name="Freeform 26">
                <a:extLst>
                  <a:ext uri="{FF2B5EF4-FFF2-40B4-BE49-F238E27FC236}">
                    <a16:creationId xmlns:a16="http://schemas.microsoft.com/office/drawing/2014/main" id="{9CF82E06-940E-A377-2F7B-DDC0560F7D8A}"/>
                  </a:ext>
                </a:extLst>
              </p:cNvPr>
              <p:cNvSpPr>
                <a:spLocks noEditPoints="1"/>
              </p:cNvSpPr>
              <p:nvPr/>
            </p:nvSpPr>
            <p:spPr bwMode="gray">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grpSp>
    </p:spTree>
    <p:extLst>
      <p:ext uri="{BB962C8B-B14F-4D97-AF65-F5344CB8AC3E}">
        <p14:creationId xmlns:p14="http://schemas.microsoft.com/office/powerpoint/2010/main" val="18103088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35055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1)</a:t>
            </a:r>
            <a:endParaRPr lang="en-US" sz="2800" b="0"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51240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誤った情報と気づかないまま、「大事な情報だ」と思い周囲の人に伝え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った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近な人から聞いた情報をそのまま信用してしまうことで、さらに周り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に広めていってしまうことも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が社会にどんな影響を与えたのか、例をみ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781806"/>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F9F04F1D-86EA-4A19-9FEF-164D72AAF453}"/>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5739696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861570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2)</a:t>
            </a:r>
            <a:endParaRPr lang="en-US" sz="2800" b="0"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ひとつめは、「災害対応の妨害」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は、閲覧回数を稼ぐ目的などで、災害時に、ニセの被害報告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救助依頼を発信する人が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善意であっても、そうしたニセ・誤情報を拡散してしまうと、役所や消防</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の業務が圧迫され、本当に救助が必要な方への対応が遅れてしま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可能性が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実際に</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の能登半島地震の際にも、本物の救助依頼に混ざ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の救助依頼が投稿され、警察・消防が出動する事態が起きま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支援したい気持ちからであっても、安易に拡散したり、公的機関に</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通報することは避け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333000"/>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51873BF-87DC-4DBB-AE8E-1C3F1E8E62DE}"/>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9260232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6599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3)</a:t>
            </a:r>
            <a:endParaRPr lang="en-US" sz="2800" b="0"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ふたつめは「選挙・民主主義への影響」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の米国大統領選挙では、候補者の票が不正に捨てられた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える写真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拡散されました。しかし、実際には全く別のニュースの写真であったことが判明し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特定の党や候補者に関する間違った情報が拡散されることで、一人ひとりの判断に影響がでたり、選挙や特定の党、候補者などに対する不信感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広がる可能性があ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5740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0B4D8F5F-BBF3-47C1-8F74-DDA371C46F95}"/>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1253533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51624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4)</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2</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1E2B7A33-DB06-4D51-9A3C-2846762350F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３つ目は「社会分断の助長」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拡散されてしまうと、特定の集団に対する差別や偏見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おり、政治や社会の分断を広げてしまう可能性が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年にイギリスで移民に関する差別的なニセ・誤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散され、反移民の抗議活動や暴動が発生し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DD3D8F87-5133-8216-B897-12365D4E1D87}"/>
              </a:ext>
            </a:extLst>
          </p:cNvPr>
          <p:cNvSpPr/>
          <p:nvPr/>
        </p:nvSpPr>
        <p:spPr bwMode="gray">
          <a:xfrm>
            <a:off x="5576552" y="30431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A96B4B25-C0B2-E201-821F-20F37A26760F}"/>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AE4FB48D-88C1-7C7B-0801-37DFE6756D9F}"/>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44F573F5-8267-6527-7EB1-FD54EA1A5097}"/>
                </a:ext>
              </a:extLst>
            </p:cNvPr>
            <p:cNvSpPr/>
            <p:nvPr/>
          </p:nvSpPr>
          <p:spPr bwMode="blackGray">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紹介した事例以外にも、見聞きした事例などを問いかけることで、ニセ・誤情報による影響が身近であることを実感できる</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ように、受講者が考える時間をつくっ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5F64CFD1-EC67-89F6-39E9-8613BB5192C1}"/>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E71A3827-6549-E262-2046-6A3597E4D46A}"/>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EB12CEA3-1252-6019-E473-E5497A061F39}"/>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B5B2F6E1-76D6-FAD5-0B4E-D984F20F3E9B}"/>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86313592-C5EC-E07A-8756-1657A5B00DF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703077A1-4E6C-4994-9C85-A57961B457F3}"/>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009EB803-1DA6-45B5-84E4-FFF13C445D21}"/>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89FA5A5B-5432-456B-AB62-5E4CEBD8AD9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38CD74B7-19E3-43A4-956A-D887693064AD}"/>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318150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8204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5)</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3</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874D8EE3-D0AD-4A54-A9EF-712AF34C4EA2}"/>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にだまされないためには、まずは確認してみること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第一歩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検証のために、根拠となる情報があるのか、その分野の専門家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意見なのか、使われている画像は本物か、などを確認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して、安易に情報を拡散しないようにしましょう。本当かウソ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分からないもの、誰かを傷つける情報は拡散してはいけません。</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C79BFDFC-F67F-A659-D90E-CDF5FEAF6657}"/>
              </a:ext>
            </a:extLst>
          </p:cNvPr>
          <p:cNvSpPr/>
          <p:nvPr/>
        </p:nvSpPr>
        <p:spPr bwMode="gray">
          <a:xfrm>
            <a:off x="5576552" y="33016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3E38F738-6EBD-43B1-944B-610C1D41A792}"/>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B25728EA-2470-4C94-B81E-7818A055535A}"/>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57B60A94-FB08-4C71-B3CB-199AC0B6DB0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832DC984-46E5-483E-A8CB-66D37679B1F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9385043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5445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6)</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4</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30E4EEC9-168C-4B1C-AF9E-A5F26A44ACD8}"/>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にリンク先などがあれば、投稿している人の所属などを確認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ましょう。また、ある投稿が記事を引用している場合、記事の見出しだけでなく、実際にリンク先をクリックして、記事を読んでみたり、引用元が信頼できるかを確認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画像付きの投稿の場合、その画像が正しい画像なのか確認する方法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スマホやタブレットなら画像を長押し、</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ら右クリッ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すると、「画像検索」して、検索した画像が使われている記事や出所元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どこかを調べることができます。</a:t>
            </a:r>
          </a:p>
        </p:txBody>
      </p:sp>
      <p:sp>
        <p:nvSpPr>
          <p:cNvPr id="12" name="Rectangle: Rounded Corners 1">
            <a:extLst>
              <a:ext uri="{FF2B5EF4-FFF2-40B4-BE49-F238E27FC236}">
                <a16:creationId xmlns:a16="http://schemas.microsoft.com/office/drawing/2014/main" id="{4C0D6E73-86B8-2E60-B491-0580ACB249B6}"/>
              </a:ext>
            </a:extLst>
          </p:cNvPr>
          <p:cNvSpPr/>
          <p:nvPr/>
        </p:nvSpPr>
        <p:spPr bwMode="gray">
          <a:xfrm>
            <a:off x="5576552" y="35601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DE1F8CD8-B8BB-FBDE-2B6B-FA91C8917C44}"/>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3F5547B9-34A7-ECFC-69B6-7275CE01699C}"/>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38C7C840-3690-382F-0855-6A0F490CD4E6}"/>
                </a:ext>
              </a:extLst>
            </p:cNvPr>
            <p:cNvSpPr/>
            <p:nvPr/>
          </p:nvSpPr>
          <p:spPr bwMode="blackGray">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のスマホなどで画像検索を実際に試してみたり、ニュース記事の引用元リンクなどをクリックしてみるなど、</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日常生活において、ニセ・誤情報を見極めるための行動がとれるように一緒に実践し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45488978-FB69-B1E2-2ABC-1AA600D68FDC}"/>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3C34E6E6-1635-F102-C87B-58594A7A1E13}"/>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A8B9C252-1F5A-AB3B-27F3-12725E8ACA03}"/>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42F3822F-9010-B829-D858-711B548AA22F}"/>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5287B333-D384-1B8C-4053-507A646FE8FA}"/>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024B3803-03D0-4016-8906-B770491DE79C}"/>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5E6AAECE-83C0-4BB7-B9CD-C33783B5EB6D}"/>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A603C886-1592-4C89-A940-091ED66CC9D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7" name="Picture 26">
            <a:extLst>
              <a:ext uri="{FF2B5EF4-FFF2-40B4-BE49-F238E27FC236}">
                <a16:creationId xmlns:a16="http://schemas.microsoft.com/office/drawing/2014/main" id="{A4072B27-3298-4C18-A90E-E19B1CBE9563}"/>
              </a:ext>
            </a:extLst>
          </p:cNvPr>
          <p:cNvPicPr>
            <a:picLocks noChangeAspect="1"/>
          </p:cNvPicPr>
          <p:nvPr/>
        </p:nvPicPr>
        <p:blipFill rotWithShape="1">
          <a:blip r:embed="rId6"/>
          <a:srcRect/>
          <a:stretch/>
        </p:blipFill>
        <p:spPr>
          <a:xfrm>
            <a:off x="640348" y="1307368"/>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104304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9441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7)</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5</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10BE26FF-0CA3-4DAA-8398-522D2DAB71B4}"/>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参考として、信頼できるサイトの判別方法についても紹介し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は、ウェブサイトに関する情報が含まれ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http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始ま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は、セキュリティが強化された通信を行っていることを示します。反対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http://</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始まる場合は、セキュリティが保証</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れていない通信が行われる可能性があるため、特に個人情報を入力するサイトでは注意が必要で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末尾には、そのサイトがどのような組織によって運営され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るかを示す情報が含まれています。例えば、日本国の政府機関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独立行政法人、特殊法人など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go.jp</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使われており、これら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ドメインを持つサイトは信頼できる可能性が高い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40222679-5F74-3BBA-12BB-888F2E6FE4D8}"/>
              </a:ext>
            </a:extLst>
          </p:cNvPr>
          <p:cNvSpPr/>
          <p:nvPr/>
        </p:nvSpPr>
        <p:spPr bwMode="gray">
          <a:xfrm>
            <a:off x="5576552" y="43357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F1A94C2D-10B5-455E-B94C-9167E48415B0}"/>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A4F5E242-C4F9-4A77-B857-84C9B2267C13}"/>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2C85A469-68AC-419C-A029-C6F4EDD02A3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8871A05B-5452-49B8-BFA3-C0EB99F00BAD}"/>
              </a:ext>
            </a:extLst>
          </p:cNvPr>
          <p:cNvPicPr>
            <a:picLocks noChangeAspect="1"/>
          </p:cNvPicPr>
          <p:nvPr/>
        </p:nvPicPr>
        <p:blipFill rotWithShape="1">
          <a:blip r:embed="rId6"/>
          <a:srcRect l="360" t="961" r="155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8045989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5106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8)</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6</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3D45B8E5-CD52-4845-92F8-797218EEFFCE}"/>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総務省の教材「インターネットとの向き合い方～ニセ・誤情報にだまされないために～第２版」では、インターネットのニセ・誤情報について詳しく</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説明し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もっと深く学びたい方は、本教材の内容もふまえて、詳しく学習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31185192-C817-769F-13AD-23A2FB05AD2B}"/>
              </a:ext>
            </a:extLst>
          </p:cNvPr>
          <p:cNvSpPr/>
          <p:nvPr/>
        </p:nvSpPr>
        <p:spPr bwMode="gray">
          <a:xfrm>
            <a:off x="5576552" y="252604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3F63A64-5CB3-41E2-8A8C-446DF295F4BD}"/>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DC75D16F-CCC5-44E2-833D-B0069C7B0DB4}"/>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1C35A20E-F81F-448A-8F19-D63C2432290E}"/>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38A86C7B-28FB-47EB-8522-B83163173CE1}"/>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9088657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6807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59)</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7</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E237169C-5B24-405A-89BD-D1DFEED5373B}"/>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４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ニセ・誤情報を拡散すると社会に悪影響を及ぼす可能性が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真偽がわからないものや誰かを傷つける情報は拡散しな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拡散する前にひと呼吸おくことが重要で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34E50092-FB3D-9536-3785-E0E3DF1F0ED6}"/>
              </a:ext>
            </a:extLst>
          </p:cNvPr>
          <p:cNvSpPr/>
          <p:nvPr/>
        </p:nvSpPr>
        <p:spPr>
          <a:xfrm>
            <a:off x="5576552" y="252604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FABEC2F7-0AA3-4C1A-B680-1BA38C720663}"/>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C84F32CC-6221-46EE-B136-0ABA9E7CB021}"/>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B51E917D-06E2-42C1-9B5C-94A18219FDC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1551584A-0D0C-47AF-8433-270514B79722}"/>
              </a:ext>
            </a:extLst>
          </p:cNvPr>
          <p:cNvPicPr>
            <a:picLocks noChangeAspect="1"/>
          </p:cNvPicPr>
          <p:nvPr/>
        </p:nvPicPr>
        <p:blipFill rotWithShape="1">
          <a:blip r:embed="rId6"/>
          <a:srcRect l="330" t="961" r="1569"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50400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9020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0)</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0C47D33C-7C4E-B218-1F75-AD4065867306}"/>
              </a:ext>
            </a:extLst>
          </p:cNvPr>
          <p:cNvSpPr/>
          <p:nvPr/>
        </p:nvSpPr>
        <p:spPr bwMode="gray">
          <a:xfrm>
            <a:off x="5576552" y="1218296"/>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D1038394-CD9A-4A01-AE05-2BC3FD89B783}"/>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8FEEF414-BA26-4DD8-9240-1DD5146409AD}"/>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F4FF6036-B2CD-477F-AA61-3616E31E920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906C761B-FC04-4088-BBDA-F5115A676AF8}"/>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563785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B8DBB-D52A-5FB0-D698-727634B6DEE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E4E15A-948A-15AA-1E8E-C3E814163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7E4E15A-948A-15AA-1E8E-C3E814163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22F8DA70-6A4A-A2D6-3A8B-ED56FD6C7935}"/>
              </a:ext>
            </a:extLst>
          </p:cNvPr>
          <p:cNvSpPr/>
          <p:nvPr/>
        </p:nvSpPr>
        <p:spPr>
          <a:xfrm>
            <a:off x="2641600" y="2285719"/>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Rectangle: Rounded Corners 42">
            <a:extLst>
              <a:ext uri="{FF2B5EF4-FFF2-40B4-BE49-F238E27FC236}">
                <a16:creationId xmlns:a16="http://schemas.microsoft.com/office/drawing/2014/main" id="{3A34E600-A488-8F2F-27EB-22542E1EAB24}"/>
              </a:ext>
            </a:extLst>
          </p:cNvPr>
          <p:cNvSpPr/>
          <p:nvPr/>
        </p:nvSpPr>
        <p:spPr>
          <a:xfrm>
            <a:off x="2641600" y="2994340"/>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Rectangle: Rounded Corners 43">
            <a:extLst>
              <a:ext uri="{FF2B5EF4-FFF2-40B4-BE49-F238E27FC236}">
                <a16:creationId xmlns:a16="http://schemas.microsoft.com/office/drawing/2014/main" id="{0932501A-A8C4-C62E-D9B9-2C43862547B7}"/>
              </a:ext>
            </a:extLst>
          </p:cNvPr>
          <p:cNvSpPr/>
          <p:nvPr/>
        </p:nvSpPr>
        <p:spPr>
          <a:xfrm>
            <a:off x="2641600" y="3702961"/>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5" name="Rectangle: Rounded Corners 44">
            <a:extLst>
              <a:ext uri="{FF2B5EF4-FFF2-40B4-BE49-F238E27FC236}">
                <a16:creationId xmlns:a16="http://schemas.microsoft.com/office/drawing/2014/main" id="{229FBC6F-546B-8A69-6EE2-5D1873669FEA}"/>
              </a:ext>
            </a:extLst>
          </p:cNvPr>
          <p:cNvSpPr/>
          <p:nvPr/>
        </p:nvSpPr>
        <p:spPr>
          <a:xfrm>
            <a:off x="2641600" y="4411582"/>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Rectangle: Rounded Corners 45">
            <a:extLst>
              <a:ext uri="{FF2B5EF4-FFF2-40B4-BE49-F238E27FC236}">
                <a16:creationId xmlns:a16="http://schemas.microsoft.com/office/drawing/2014/main" id="{C2024294-7372-49FC-D324-872789E840C9}"/>
              </a:ext>
            </a:extLst>
          </p:cNvPr>
          <p:cNvSpPr/>
          <p:nvPr/>
        </p:nvSpPr>
        <p:spPr>
          <a:xfrm>
            <a:off x="2641600" y="5120203"/>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Rectangle: Rounded Corners 20">
            <a:extLst>
              <a:ext uri="{FF2B5EF4-FFF2-40B4-BE49-F238E27FC236}">
                <a16:creationId xmlns:a16="http://schemas.microsoft.com/office/drawing/2014/main" id="{891200D0-C968-4C58-6199-8084DE1ABF36}"/>
              </a:ext>
            </a:extLst>
          </p:cNvPr>
          <p:cNvSpPr/>
          <p:nvPr/>
        </p:nvSpPr>
        <p:spPr>
          <a:xfrm>
            <a:off x="2641600" y="1577098"/>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Rectangle: Rounded Corners 21">
            <a:extLst>
              <a:ext uri="{FF2B5EF4-FFF2-40B4-BE49-F238E27FC236}">
                <a16:creationId xmlns:a16="http://schemas.microsoft.com/office/drawing/2014/main" id="{44306529-25B2-6E5D-A549-2C29E29BF3A1}"/>
              </a:ext>
            </a:extLst>
          </p:cNvPr>
          <p:cNvSpPr/>
          <p:nvPr/>
        </p:nvSpPr>
        <p:spPr>
          <a:xfrm>
            <a:off x="2641600" y="5828822"/>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タイトル 5">
            <a:extLst>
              <a:ext uri="{FF2B5EF4-FFF2-40B4-BE49-F238E27FC236}">
                <a16:creationId xmlns:a16="http://schemas.microsoft.com/office/drawing/2014/main" id="{44158AEC-AAC2-6605-9E95-9231FB124EC0}"/>
              </a:ext>
            </a:extLst>
          </p:cNvPr>
          <p:cNvSpPr>
            <a:spLocks noGrp="1"/>
          </p:cNvSpPr>
          <p:nvPr>
            <p:ph type="title"/>
          </p:nvPr>
        </p:nvSpPr>
        <p:spPr>
          <a:xfrm>
            <a:off x="566487" y="302026"/>
            <a:ext cx="11059026" cy="369332"/>
          </a:xfrm>
        </p:spPr>
        <p:txBody>
          <a:bodyPr vert="horz"/>
          <a:lstStyle/>
          <a:p>
            <a:r>
              <a:rPr lang="ja-JP" altLang="en-US">
                <a:latin typeface="BIZ UDPゴシック" panose="020B0400000000000000" pitchFamily="50" charset="-128"/>
              </a:rPr>
              <a:t>講座の進め方の例</a:t>
            </a:r>
          </a:p>
        </p:txBody>
      </p:sp>
      <p:sp>
        <p:nvSpPr>
          <p:cNvPr id="2" name="Slide Number Placeholder 1">
            <a:extLst>
              <a:ext uri="{FF2B5EF4-FFF2-40B4-BE49-F238E27FC236}">
                <a16:creationId xmlns:a16="http://schemas.microsoft.com/office/drawing/2014/main" id="{4B52A12E-6F4A-598B-13E2-0C4106BE9318}"/>
              </a:ext>
            </a:extLst>
          </p:cNvPr>
          <p:cNvSpPr>
            <a:spLocks noGrp="1"/>
          </p:cNvSpPr>
          <p:nvPr>
            <p:ph type="sldNum" sz="quarter" idx="4"/>
          </p:nvPr>
        </p:nvSpPr>
        <p:spPr>
          <a:xfrm>
            <a:off x="11496813" y="6492151"/>
            <a:ext cx="499169" cy="184694"/>
          </a:xfrm>
        </p:spPr>
        <p:txBody>
          <a:bodyPr/>
          <a:lstStyle/>
          <a:p>
            <a:fld id="{75EEF097-E23E-44DF-B033-E758A731DE21}" type="slidenum">
              <a:rPr lang="ja-JP" altLang="en-US" smtClean="0">
                <a:solidFill>
                  <a:schemeClr val="tx1"/>
                </a:solidFill>
              </a:rPr>
              <a:pPr/>
              <a:t>6</a:t>
            </a:fld>
            <a:endParaRPr lang="ja-JP" altLang="en-US">
              <a:solidFill>
                <a:schemeClr val="tx1"/>
              </a:solidFill>
            </a:endParaRPr>
          </a:p>
        </p:txBody>
      </p:sp>
      <p:sp>
        <p:nvSpPr>
          <p:cNvPr id="113" name="Rectangle 112" hidden="1">
            <a:extLst>
              <a:ext uri="{FF2B5EF4-FFF2-40B4-BE49-F238E27FC236}">
                <a16:creationId xmlns:a16="http://schemas.microsoft.com/office/drawing/2014/main" id="{67632C50-2C1D-6074-DA9E-112B7CE05BB9}"/>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テキスト ボックス 2">
            <a:extLst>
              <a:ext uri="{FF2B5EF4-FFF2-40B4-BE49-F238E27FC236}">
                <a16:creationId xmlns:a16="http://schemas.microsoft.com/office/drawing/2014/main" id="{BA2EE13E-D6E2-B543-19C9-10078BB69581}"/>
              </a:ext>
            </a:extLst>
          </p:cNvPr>
          <p:cNvSpPr txBox="1">
            <a:spLocks noChangeAspect="1"/>
          </p:cNvSpPr>
          <p:nvPr/>
        </p:nvSpPr>
        <p:spPr bwMode="gray">
          <a:xfrm>
            <a:off x="2790825" y="2412656"/>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3" name="テキスト ボックス 1">
            <a:extLst>
              <a:ext uri="{FF2B5EF4-FFF2-40B4-BE49-F238E27FC236}">
                <a16:creationId xmlns:a16="http://schemas.microsoft.com/office/drawing/2014/main" id="{50C29E1E-E0DD-A077-445C-4312B5614180}"/>
              </a:ext>
            </a:extLst>
          </p:cNvPr>
          <p:cNvSpPr txBox="1"/>
          <p:nvPr/>
        </p:nvSpPr>
        <p:spPr>
          <a:xfrm>
            <a:off x="3980152" y="2285719"/>
            <a:ext cx="3258847"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テキスト ボックス 4">
            <a:extLst>
              <a:ext uri="{FF2B5EF4-FFF2-40B4-BE49-F238E27FC236}">
                <a16:creationId xmlns:a16="http://schemas.microsoft.com/office/drawing/2014/main" id="{09BF3F70-43DB-3FC5-5FE0-021F80FF9FC0}"/>
              </a:ext>
            </a:extLst>
          </p:cNvPr>
          <p:cNvSpPr txBox="1">
            <a:spLocks noChangeAspect="1"/>
          </p:cNvSpPr>
          <p:nvPr/>
        </p:nvSpPr>
        <p:spPr bwMode="gray">
          <a:xfrm>
            <a:off x="2791405" y="3124296"/>
            <a:ext cx="1020521" cy="314637"/>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a:sym typeface="BIZ UDPゴシック" panose="020B0400000000000000" pitchFamily="50" charset="-128"/>
              </a:rPr>
              <a:t>PART 2</a:t>
            </a:r>
          </a:p>
        </p:txBody>
      </p:sp>
      <p:sp>
        <p:nvSpPr>
          <p:cNvPr id="20" name="テキスト ボックス 5">
            <a:extLst>
              <a:ext uri="{FF2B5EF4-FFF2-40B4-BE49-F238E27FC236}">
                <a16:creationId xmlns:a16="http://schemas.microsoft.com/office/drawing/2014/main" id="{16F170D8-CE0F-0B31-19AC-A5A9F98CBEE1}"/>
              </a:ext>
            </a:extLst>
          </p:cNvPr>
          <p:cNvSpPr txBox="1"/>
          <p:nvPr/>
        </p:nvSpPr>
        <p:spPr>
          <a:xfrm>
            <a:off x="3980152" y="2994340"/>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テキスト ボックス 6">
            <a:extLst>
              <a:ext uri="{FF2B5EF4-FFF2-40B4-BE49-F238E27FC236}">
                <a16:creationId xmlns:a16="http://schemas.microsoft.com/office/drawing/2014/main" id="{979E4D73-7267-D98F-A2C5-A37F4E89CFD3}"/>
              </a:ext>
            </a:extLst>
          </p:cNvPr>
          <p:cNvSpPr txBox="1">
            <a:spLocks noChangeAspect="1"/>
          </p:cNvSpPr>
          <p:nvPr/>
        </p:nvSpPr>
        <p:spPr bwMode="gray">
          <a:xfrm>
            <a:off x="2790825" y="3829898"/>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26" name="テキスト ボックス 7">
            <a:extLst>
              <a:ext uri="{FF2B5EF4-FFF2-40B4-BE49-F238E27FC236}">
                <a16:creationId xmlns:a16="http://schemas.microsoft.com/office/drawing/2014/main" id="{01113B80-7B96-4E5D-0386-015AAF1D9507}"/>
              </a:ext>
            </a:extLst>
          </p:cNvPr>
          <p:cNvSpPr txBox="1"/>
          <p:nvPr/>
        </p:nvSpPr>
        <p:spPr>
          <a:xfrm>
            <a:off x="3980152" y="3702961"/>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テキスト ボックス 8">
            <a:extLst>
              <a:ext uri="{FF2B5EF4-FFF2-40B4-BE49-F238E27FC236}">
                <a16:creationId xmlns:a16="http://schemas.microsoft.com/office/drawing/2014/main" id="{E999D815-954E-605A-191C-C378125AB9B1}"/>
              </a:ext>
            </a:extLst>
          </p:cNvPr>
          <p:cNvSpPr txBox="1">
            <a:spLocks noChangeAspect="1"/>
          </p:cNvSpPr>
          <p:nvPr/>
        </p:nvSpPr>
        <p:spPr bwMode="gray">
          <a:xfrm>
            <a:off x="2790825" y="4538519"/>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27" name="テキスト ボックス 7">
            <a:extLst>
              <a:ext uri="{FF2B5EF4-FFF2-40B4-BE49-F238E27FC236}">
                <a16:creationId xmlns:a16="http://schemas.microsoft.com/office/drawing/2014/main" id="{EEF80406-AA86-466B-7EB4-56D28576E043}"/>
              </a:ext>
            </a:extLst>
          </p:cNvPr>
          <p:cNvSpPr txBox="1"/>
          <p:nvPr/>
        </p:nvSpPr>
        <p:spPr>
          <a:xfrm>
            <a:off x="3980152" y="4411582"/>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z="1600"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テキスト ボックス 3">
            <a:extLst>
              <a:ext uri="{FF2B5EF4-FFF2-40B4-BE49-F238E27FC236}">
                <a16:creationId xmlns:a16="http://schemas.microsoft.com/office/drawing/2014/main" id="{222387EE-2E2C-C19F-48D8-8CD55A93E954}"/>
              </a:ext>
            </a:extLst>
          </p:cNvPr>
          <p:cNvSpPr txBox="1"/>
          <p:nvPr/>
        </p:nvSpPr>
        <p:spPr>
          <a:xfrm>
            <a:off x="3980152" y="5120203"/>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テキスト ボックス 8">
            <a:extLst>
              <a:ext uri="{FF2B5EF4-FFF2-40B4-BE49-F238E27FC236}">
                <a16:creationId xmlns:a16="http://schemas.microsoft.com/office/drawing/2014/main" id="{671DD67A-EEC5-7A09-E2FE-D554BD92B210}"/>
              </a:ext>
            </a:extLst>
          </p:cNvPr>
          <p:cNvSpPr txBox="1">
            <a:spLocks noChangeAspect="1"/>
          </p:cNvSpPr>
          <p:nvPr/>
        </p:nvSpPr>
        <p:spPr bwMode="gray">
          <a:xfrm>
            <a:off x="2790825" y="5247140"/>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sp>
        <p:nvSpPr>
          <p:cNvPr id="41" name="テキスト ボックス 1">
            <a:extLst>
              <a:ext uri="{FF2B5EF4-FFF2-40B4-BE49-F238E27FC236}">
                <a16:creationId xmlns:a16="http://schemas.microsoft.com/office/drawing/2014/main" id="{3658955A-88F5-C615-A31D-9887C221E152}"/>
              </a:ext>
            </a:extLst>
          </p:cNvPr>
          <p:cNvSpPr txBox="1"/>
          <p:nvPr/>
        </p:nvSpPr>
        <p:spPr>
          <a:xfrm>
            <a:off x="7386321" y="1577098"/>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導入説明</a:t>
            </a:r>
          </a:p>
        </p:txBody>
      </p:sp>
      <p:sp>
        <p:nvSpPr>
          <p:cNvPr id="72" name="テキスト ボックス 1">
            <a:extLst>
              <a:ext uri="{FF2B5EF4-FFF2-40B4-BE49-F238E27FC236}">
                <a16:creationId xmlns:a16="http://schemas.microsoft.com/office/drawing/2014/main" id="{5510BA8A-210B-8ED7-1F79-6DBC2D6AB4EE}"/>
              </a:ext>
            </a:extLst>
          </p:cNvPr>
          <p:cNvSpPr txBox="1"/>
          <p:nvPr/>
        </p:nvSpPr>
        <p:spPr>
          <a:xfrm>
            <a:off x="7386321" y="2285719"/>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0" name="テキスト ボックス 1">
            <a:extLst>
              <a:ext uri="{FF2B5EF4-FFF2-40B4-BE49-F238E27FC236}">
                <a16:creationId xmlns:a16="http://schemas.microsoft.com/office/drawing/2014/main" id="{AC765E0D-9135-6A2A-4F85-9EAE4D859975}"/>
              </a:ext>
            </a:extLst>
          </p:cNvPr>
          <p:cNvSpPr txBox="1"/>
          <p:nvPr/>
        </p:nvSpPr>
        <p:spPr>
          <a:xfrm>
            <a:off x="7386321" y="2994340"/>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3" name="テキスト ボックス 1">
            <a:extLst>
              <a:ext uri="{FF2B5EF4-FFF2-40B4-BE49-F238E27FC236}">
                <a16:creationId xmlns:a16="http://schemas.microsoft.com/office/drawing/2014/main" id="{C4255688-B262-D37D-A7A5-8B816EAB101B}"/>
              </a:ext>
            </a:extLst>
          </p:cNvPr>
          <p:cNvSpPr txBox="1"/>
          <p:nvPr/>
        </p:nvSpPr>
        <p:spPr>
          <a:xfrm>
            <a:off x="7386324" y="3702961"/>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4" name="テキスト ボックス 1">
            <a:extLst>
              <a:ext uri="{FF2B5EF4-FFF2-40B4-BE49-F238E27FC236}">
                <a16:creationId xmlns:a16="http://schemas.microsoft.com/office/drawing/2014/main" id="{F60E0325-8DB0-12BE-AE33-1A0DAFD594EC}"/>
              </a:ext>
            </a:extLst>
          </p:cNvPr>
          <p:cNvSpPr txBox="1"/>
          <p:nvPr/>
        </p:nvSpPr>
        <p:spPr>
          <a:xfrm>
            <a:off x="7386324" y="441158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5" name="テキスト ボックス 1">
            <a:extLst>
              <a:ext uri="{FF2B5EF4-FFF2-40B4-BE49-F238E27FC236}">
                <a16:creationId xmlns:a16="http://schemas.microsoft.com/office/drawing/2014/main" id="{C7B0249F-74C4-5F63-7681-9A0EA037F263}"/>
              </a:ext>
            </a:extLst>
          </p:cNvPr>
          <p:cNvSpPr txBox="1"/>
          <p:nvPr/>
        </p:nvSpPr>
        <p:spPr>
          <a:xfrm>
            <a:off x="7386324" y="5120203"/>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6" name="テキスト ボックス 1">
            <a:extLst>
              <a:ext uri="{FF2B5EF4-FFF2-40B4-BE49-F238E27FC236}">
                <a16:creationId xmlns:a16="http://schemas.microsoft.com/office/drawing/2014/main" id="{84CDB6A0-B8F0-492D-DD73-0E1C613E02E3}"/>
              </a:ext>
            </a:extLst>
          </p:cNvPr>
          <p:cNvSpPr txBox="1"/>
          <p:nvPr/>
        </p:nvSpPr>
        <p:spPr>
          <a:xfrm>
            <a:off x="7386324" y="582882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グループワーク</a:t>
            </a:r>
          </a:p>
        </p:txBody>
      </p:sp>
      <p:sp>
        <p:nvSpPr>
          <p:cNvPr id="81" name="TextBox 80">
            <a:extLst>
              <a:ext uri="{FF2B5EF4-FFF2-40B4-BE49-F238E27FC236}">
                <a16:creationId xmlns:a16="http://schemas.microsoft.com/office/drawing/2014/main" id="{7817ADBE-B39D-D801-58B5-1E10591F2C7C}"/>
              </a:ext>
            </a:extLst>
          </p:cNvPr>
          <p:cNvSpPr txBox="1"/>
          <p:nvPr/>
        </p:nvSpPr>
        <p:spPr>
          <a:xfrm>
            <a:off x="566487" y="2910156"/>
            <a:ext cx="1438930" cy="299883"/>
          </a:xfrm>
          <a:prstGeom prst="rect">
            <a:avLst/>
          </a:prstGeom>
          <a:noFill/>
        </p:spPr>
        <p:txBody>
          <a:bodyPr wrap="square" lIns="0" tIns="0" rIns="0" bIns="0" anchor="ctr">
            <a:noAutofit/>
          </a:bodyPr>
          <a:lstStyle/>
          <a:p>
            <a:pPr algn="ct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トータル</a:t>
            </a:r>
            <a:endParaRPr lang="ja-JP" altLang="en-US" sz="2000" dirty="0">
              <a:latin typeface="BIZ UDPゴシック" panose="020B0400000000000000" pitchFamily="50" charset="-128"/>
              <a:ea typeface="BIZ UDPゴシック" panose="020B0400000000000000" pitchFamily="50" charset="-128"/>
            </a:endParaRPr>
          </a:p>
        </p:txBody>
      </p:sp>
      <p:grpSp>
        <p:nvGrpSpPr>
          <p:cNvPr id="126" name="Group 125">
            <a:extLst>
              <a:ext uri="{FF2B5EF4-FFF2-40B4-BE49-F238E27FC236}">
                <a16:creationId xmlns:a16="http://schemas.microsoft.com/office/drawing/2014/main" id="{6EE3FE29-A386-922F-BA53-89DC301793D0}"/>
              </a:ext>
            </a:extLst>
          </p:cNvPr>
          <p:cNvGrpSpPr/>
          <p:nvPr/>
        </p:nvGrpSpPr>
        <p:grpSpPr>
          <a:xfrm>
            <a:off x="7214689" y="1647065"/>
            <a:ext cx="0" cy="4686340"/>
            <a:chOff x="7153729" y="1583565"/>
            <a:chExt cx="0" cy="4686340"/>
          </a:xfrm>
        </p:grpSpPr>
        <p:cxnSp>
          <p:nvCxnSpPr>
            <p:cNvPr id="4" name="Straight Connector 3">
              <a:extLst>
                <a:ext uri="{FF2B5EF4-FFF2-40B4-BE49-F238E27FC236}">
                  <a16:creationId xmlns:a16="http://schemas.microsoft.com/office/drawing/2014/main" id="{16DF20F3-B923-9D4E-73FB-59BF28698307}"/>
                </a:ext>
              </a:extLst>
            </p:cNvPr>
            <p:cNvCxnSpPr/>
            <p:nvPr/>
          </p:nvCxnSpPr>
          <p:spPr>
            <a:xfrm>
              <a:off x="7153729" y="158356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C02701C-7470-9DD2-0B9A-1E433D16A9B3}"/>
                </a:ext>
              </a:extLst>
            </p:cNvPr>
            <p:cNvCxnSpPr/>
            <p:nvPr/>
          </p:nvCxnSpPr>
          <p:spPr>
            <a:xfrm>
              <a:off x="7153729" y="229218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4401FE6-1441-A90E-0587-06084DE068EF}"/>
                </a:ext>
              </a:extLst>
            </p:cNvPr>
            <p:cNvCxnSpPr/>
            <p:nvPr/>
          </p:nvCxnSpPr>
          <p:spPr>
            <a:xfrm>
              <a:off x="7153729" y="3000807"/>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AFA009D-2997-C1F6-2846-7C4E04CF2707}"/>
                </a:ext>
              </a:extLst>
            </p:cNvPr>
            <p:cNvCxnSpPr/>
            <p:nvPr/>
          </p:nvCxnSpPr>
          <p:spPr>
            <a:xfrm>
              <a:off x="7153729" y="3709428"/>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FC64048-33E5-DFFC-15EF-468CB269E144}"/>
                </a:ext>
              </a:extLst>
            </p:cNvPr>
            <p:cNvCxnSpPr/>
            <p:nvPr/>
          </p:nvCxnSpPr>
          <p:spPr>
            <a:xfrm>
              <a:off x="7153729" y="441804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FE01A4-963A-FD24-B816-BC41C99313F0}"/>
                </a:ext>
              </a:extLst>
            </p:cNvPr>
            <p:cNvCxnSpPr/>
            <p:nvPr/>
          </p:nvCxnSpPr>
          <p:spPr>
            <a:xfrm>
              <a:off x="7153729" y="5126670"/>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320BAD5-07CF-EB29-A6AA-0AF73A0FB5C9}"/>
                </a:ext>
              </a:extLst>
            </p:cNvPr>
            <p:cNvCxnSpPr/>
            <p:nvPr/>
          </p:nvCxnSpPr>
          <p:spPr>
            <a:xfrm>
              <a:off x="7153729" y="583528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0056BDC7-0735-4F82-77E8-EAF1CA172259}"/>
              </a:ext>
            </a:extLst>
          </p:cNvPr>
          <p:cNvSpPr/>
          <p:nvPr/>
        </p:nvSpPr>
        <p:spPr>
          <a:xfrm>
            <a:off x="2878667" y="1578884"/>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はじめに</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7" name="Rectangle 36">
            <a:extLst>
              <a:ext uri="{FF2B5EF4-FFF2-40B4-BE49-F238E27FC236}">
                <a16:creationId xmlns:a16="http://schemas.microsoft.com/office/drawing/2014/main" id="{82CA5881-E42E-D3A6-DB07-51665FD7DA59}"/>
              </a:ext>
            </a:extLst>
          </p:cNvPr>
          <p:cNvSpPr/>
          <p:nvPr/>
        </p:nvSpPr>
        <p:spPr>
          <a:xfrm>
            <a:off x="2878667" y="5830607"/>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振り返り・質疑応答</a:t>
            </a:r>
          </a:p>
        </p:txBody>
      </p:sp>
      <p:grpSp>
        <p:nvGrpSpPr>
          <p:cNvPr id="57" name="Group 56">
            <a:extLst>
              <a:ext uri="{FF2B5EF4-FFF2-40B4-BE49-F238E27FC236}">
                <a16:creationId xmlns:a16="http://schemas.microsoft.com/office/drawing/2014/main" id="{06C6DF4A-CBC2-4A4E-6F5E-725BEDE4699D}"/>
              </a:ext>
            </a:extLst>
          </p:cNvPr>
          <p:cNvGrpSpPr/>
          <p:nvPr/>
        </p:nvGrpSpPr>
        <p:grpSpPr bwMode="gray">
          <a:xfrm>
            <a:off x="10678732" y="1719114"/>
            <a:ext cx="639698" cy="290516"/>
            <a:chOff x="10072972" y="1583565"/>
            <a:chExt cx="939232" cy="426548"/>
          </a:xfrm>
        </p:grpSpPr>
        <p:sp>
          <p:nvSpPr>
            <p:cNvPr id="52" name="Freeform: Shape 51">
              <a:extLst>
                <a:ext uri="{FF2B5EF4-FFF2-40B4-BE49-F238E27FC236}">
                  <a16:creationId xmlns:a16="http://schemas.microsoft.com/office/drawing/2014/main" id="{0D74F686-422C-C486-A16C-BDE31287B865}"/>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55" name="Freeform: Shape 54">
              <a:extLst>
                <a:ext uri="{FF2B5EF4-FFF2-40B4-BE49-F238E27FC236}">
                  <a16:creationId xmlns:a16="http://schemas.microsoft.com/office/drawing/2014/main" id="{3198EA82-6048-99BD-E4A9-25CE04A9F97E}"/>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58" name="Group 57">
            <a:extLst>
              <a:ext uri="{FF2B5EF4-FFF2-40B4-BE49-F238E27FC236}">
                <a16:creationId xmlns:a16="http://schemas.microsoft.com/office/drawing/2014/main" id="{28CA85A2-D75E-5C70-A622-074AD7C6C992}"/>
              </a:ext>
            </a:extLst>
          </p:cNvPr>
          <p:cNvGrpSpPr/>
          <p:nvPr/>
        </p:nvGrpSpPr>
        <p:grpSpPr bwMode="gray">
          <a:xfrm>
            <a:off x="10510858" y="2427735"/>
            <a:ext cx="975444" cy="290516"/>
            <a:chOff x="10072972" y="1583565"/>
            <a:chExt cx="1432187" cy="426548"/>
          </a:xfrm>
          <a:solidFill>
            <a:srgbClr val="BC5100"/>
          </a:solidFill>
        </p:grpSpPr>
        <p:sp>
          <p:nvSpPr>
            <p:cNvPr id="59" name="Freeform: Shape 58">
              <a:extLst>
                <a:ext uri="{FF2B5EF4-FFF2-40B4-BE49-F238E27FC236}">
                  <a16:creationId xmlns:a16="http://schemas.microsoft.com/office/drawing/2014/main" id="{1B7C8C55-701E-A424-87E9-C93FE7ECC7C6}"/>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0" name="Freeform: Shape 59">
              <a:extLst>
                <a:ext uri="{FF2B5EF4-FFF2-40B4-BE49-F238E27FC236}">
                  <a16:creationId xmlns:a16="http://schemas.microsoft.com/office/drawing/2014/main" id="{53BE0C45-6DA0-7E04-F620-B038F11A226F}"/>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4" name="Freeform: Shape 63">
              <a:extLst>
                <a:ext uri="{FF2B5EF4-FFF2-40B4-BE49-F238E27FC236}">
                  <a16:creationId xmlns:a16="http://schemas.microsoft.com/office/drawing/2014/main" id="{CC4C6027-5DDE-4E28-2085-229AD3DAE47A}"/>
                </a:ext>
              </a:extLst>
            </p:cNvPr>
            <p:cNvSpPr/>
            <p:nvPr/>
          </p:nvSpPr>
          <p:spPr bwMode="gray">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71" name="Freeform: Shape 70">
            <a:extLst>
              <a:ext uri="{FF2B5EF4-FFF2-40B4-BE49-F238E27FC236}">
                <a16:creationId xmlns:a16="http://schemas.microsoft.com/office/drawing/2014/main" id="{83A76F8F-13B7-9094-19B0-C37B9970F9A7}"/>
              </a:ext>
            </a:extLst>
          </p:cNvPr>
          <p:cNvSpPr/>
          <p:nvPr/>
        </p:nvSpPr>
        <p:spPr bwMode="gray">
          <a:xfrm>
            <a:off x="10846605" y="5262219"/>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9" name="Freeform: Shape 78">
            <a:extLst>
              <a:ext uri="{FF2B5EF4-FFF2-40B4-BE49-F238E27FC236}">
                <a16:creationId xmlns:a16="http://schemas.microsoft.com/office/drawing/2014/main" id="{5EB7A6A6-7795-ED83-AFCA-3016E3BACDA9}"/>
              </a:ext>
            </a:extLst>
          </p:cNvPr>
          <p:cNvSpPr/>
          <p:nvPr/>
        </p:nvSpPr>
        <p:spPr bwMode="gray">
          <a:xfrm>
            <a:off x="10846605" y="5970838"/>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grpSp>
        <p:nvGrpSpPr>
          <p:cNvPr id="80" name="Group 79">
            <a:extLst>
              <a:ext uri="{FF2B5EF4-FFF2-40B4-BE49-F238E27FC236}">
                <a16:creationId xmlns:a16="http://schemas.microsoft.com/office/drawing/2014/main" id="{C705B56D-272B-918E-68FD-47905386F708}"/>
              </a:ext>
            </a:extLst>
          </p:cNvPr>
          <p:cNvGrpSpPr/>
          <p:nvPr/>
        </p:nvGrpSpPr>
        <p:grpSpPr bwMode="gray">
          <a:xfrm>
            <a:off x="10678732" y="3844977"/>
            <a:ext cx="639698" cy="290516"/>
            <a:chOff x="10072972" y="1583565"/>
            <a:chExt cx="939232" cy="426548"/>
          </a:xfrm>
        </p:grpSpPr>
        <p:sp>
          <p:nvSpPr>
            <p:cNvPr id="82" name="Freeform: Shape 81">
              <a:extLst>
                <a:ext uri="{FF2B5EF4-FFF2-40B4-BE49-F238E27FC236}">
                  <a16:creationId xmlns:a16="http://schemas.microsoft.com/office/drawing/2014/main" id="{CB4301F7-00BA-46D2-5954-D8E0603FF775}"/>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3" name="Freeform: Shape 82">
              <a:extLst>
                <a:ext uri="{FF2B5EF4-FFF2-40B4-BE49-F238E27FC236}">
                  <a16:creationId xmlns:a16="http://schemas.microsoft.com/office/drawing/2014/main" id="{31D1C283-2410-9724-6965-CE1D9B526695}"/>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4" name="Group 83">
            <a:extLst>
              <a:ext uri="{FF2B5EF4-FFF2-40B4-BE49-F238E27FC236}">
                <a16:creationId xmlns:a16="http://schemas.microsoft.com/office/drawing/2014/main" id="{CF81F112-CC3B-62A1-FE5A-F7AF63E31A39}"/>
              </a:ext>
            </a:extLst>
          </p:cNvPr>
          <p:cNvGrpSpPr/>
          <p:nvPr/>
        </p:nvGrpSpPr>
        <p:grpSpPr bwMode="gray">
          <a:xfrm>
            <a:off x="10678732" y="4553598"/>
            <a:ext cx="639698" cy="290516"/>
            <a:chOff x="10072972" y="1583565"/>
            <a:chExt cx="939232" cy="426548"/>
          </a:xfrm>
        </p:grpSpPr>
        <p:sp>
          <p:nvSpPr>
            <p:cNvPr id="85" name="Freeform: Shape 84">
              <a:extLst>
                <a:ext uri="{FF2B5EF4-FFF2-40B4-BE49-F238E27FC236}">
                  <a16:creationId xmlns:a16="http://schemas.microsoft.com/office/drawing/2014/main" id="{DBB4A90D-7EAD-5112-D092-3285BE092A7D}"/>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6" name="Freeform: Shape 85">
              <a:extLst>
                <a:ext uri="{FF2B5EF4-FFF2-40B4-BE49-F238E27FC236}">
                  <a16:creationId xmlns:a16="http://schemas.microsoft.com/office/drawing/2014/main" id="{D34954D3-3443-BCE9-2907-694120EBE824}"/>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7" name="Group 86">
            <a:extLst>
              <a:ext uri="{FF2B5EF4-FFF2-40B4-BE49-F238E27FC236}">
                <a16:creationId xmlns:a16="http://schemas.microsoft.com/office/drawing/2014/main" id="{ED36EF70-959D-A030-90F4-21419052D2A9}"/>
              </a:ext>
            </a:extLst>
          </p:cNvPr>
          <p:cNvGrpSpPr/>
          <p:nvPr/>
        </p:nvGrpSpPr>
        <p:grpSpPr bwMode="gray">
          <a:xfrm>
            <a:off x="10678732" y="3136356"/>
            <a:ext cx="639698" cy="290516"/>
            <a:chOff x="10072972" y="1583565"/>
            <a:chExt cx="939232" cy="426548"/>
          </a:xfrm>
        </p:grpSpPr>
        <p:sp>
          <p:nvSpPr>
            <p:cNvPr id="88" name="Freeform: Shape 87">
              <a:extLst>
                <a:ext uri="{FF2B5EF4-FFF2-40B4-BE49-F238E27FC236}">
                  <a16:creationId xmlns:a16="http://schemas.microsoft.com/office/drawing/2014/main" id="{998A1530-BAC0-EC02-3D9E-02BF7FF0C0D4}"/>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9" name="Freeform: Shape 88">
              <a:extLst>
                <a:ext uri="{FF2B5EF4-FFF2-40B4-BE49-F238E27FC236}">
                  <a16:creationId xmlns:a16="http://schemas.microsoft.com/office/drawing/2014/main" id="{17FE33D4-B43A-471A-D31A-8153C6B41391}"/>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94" name="Group 93">
            <a:extLst>
              <a:ext uri="{FF2B5EF4-FFF2-40B4-BE49-F238E27FC236}">
                <a16:creationId xmlns:a16="http://schemas.microsoft.com/office/drawing/2014/main" id="{049D6CB2-05DC-BA76-421B-6730D8969BE8}"/>
              </a:ext>
            </a:extLst>
          </p:cNvPr>
          <p:cNvGrpSpPr/>
          <p:nvPr/>
        </p:nvGrpSpPr>
        <p:grpSpPr>
          <a:xfrm>
            <a:off x="10371649" y="1248849"/>
            <a:ext cx="1253863" cy="241981"/>
            <a:chOff x="10207135" y="1159949"/>
            <a:chExt cx="1253863" cy="241981"/>
          </a:xfrm>
        </p:grpSpPr>
        <p:sp>
          <p:nvSpPr>
            <p:cNvPr id="39" name="Rectangle 38">
              <a:extLst>
                <a:ext uri="{FF2B5EF4-FFF2-40B4-BE49-F238E27FC236}">
                  <a16:creationId xmlns:a16="http://schemas.microsoft.com/office/drawing/2014/main" id="{0D175A0B-655A-6650-746A-A9C7B9D181B0}"/>
                </a:ext>
              </a:extLst>
            </p:cNvPr>
            <p:cNvSpPr/>
            <p:nvPr/>
          </p:nvSpPr>
          <p:spPr>
            <a:xfrm>
              <a:off x="10207135" y="1159949"/>
              <a:ext cx="1253863"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重要度</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1" name="Straight Connector 90">
              <a:extLst>
                <a:ext uri="{FF2B5EF4-FFF2-40B4-BE49-F238E27FC236}">
                  <a16:creationId xmlns:a16="http://schemas.microsoft.com/office/drawing/2014/main" id="{83E01CA3-9629-BB6C-CFD9-44F757581398}"/>
                </a:ext>
              </a:extLst>
            </p:cNvPr>
            <p:cNvCxnSpPr/>
            <p:nvPr/>
          </p:nvCxnSpPr>
          <p:spPr>
            <a:xfrm>
              <a:off x="10207135" y="1401930"/>
              <a:ext cx="125386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96" name="Connector: Elbow 95">
            <a:extLst>
              <a:ext uri="{FF2B5EF4-FFF2-40B4-BE49-F238E27FC236}">
                <a16:creationId xmlns:a16="http://schemas.microsoft.com/office/drawing/2014/main" id="{A3106C38-FEE0-9C5A-110D-7B7281AF4687}"/>
              </a:ext>
            </a:extLst>
          </p:cNvPr>
          <p:cNvCxnSpPr>
            <a:stCxn id="3" idx="6"/>
            <a:endCxn id="21" idx="1"/>
          </p:cNvCxnSpPr>
          <p:nvPr/>
        </p:nvCxnSpPr>
        <p:spPr>
          <a:xfrm flipV="1">
            <a:off x="2005417" y="1864373"/>
            <a:ext cx="636183" cy="2125863"/>
          </a:xfrm>
          <a:prstGeom prst="bentConnector3">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4FBBF650-2B1C-BB50-A2C0-86CE3E0C32F1}"/>
              </a:ext>
            </a:extLst>
          </p:cNvPr>
          <p:cNvCxnSpPr>
            <a:cxnSpLocks/>
            <a:stCxn id="3" idx="6"/>
            <a:endCxn id="22" idx="1"/>
          </p:cNvCxnSpPr>
          <p:nvPr/>
        </p:nvCxnSpPr>
        <p:spPr>
          <a:xfrm>
            <a:off x="2005417" y="3990236"/>
            <a:ext cx="636183" cy="212586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B9EE00CA-C8D2-5989-91AF-981418BC7F7D}"/>
              </a:ext>
            </a:extLst>
          </p:cNvPr>
          <p:cNvCxnSpPr>
            <a:cxnSpLocks/>
            <a:stCxn id="3" idx="6"/>
            <a:endCxn id="46" idx="1"/>
          </p:cNvCxnSpPr>
          <p:nvPr/>
        </p:nvCxnSpPr>
        <p:spPr>
          <a:xfrm>
            <a:off x="2005417" y="3990236"/>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01145EE8-3DA5-4372-8B03-F71877875483}"/>
              </a:ext>
            </a:extLst>
          </p:cNvPr>
          <p:cNvCxnSpPr>
            <a:cxnSpLocks/>
            <a:stCxn id="3" idx="6"/>
            <a:endCxn id="45" idx="1"/>
          </p:cNvCxnSpPr>
          <p:nvPr/>
        </p:nvCxnSpPr>
        <p:spPr>
          <a:xfrm>
            <a:off x="2005417" y="3990236"/>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671B87E9-28E1-B3E4-F506-A12D5D0CBA0B}"/>
              </a:ext>
            </a:extLst>
          </p:cNvPr>
          <p:cNvCxnSpPr>
            <a:cxnSpLocks/>
            <a:stCxn id="3" idx="6"/>
            <a:endCxn id="44" idx="1"/>
          </p:cNvCxnSpPr>
          <p:nvPr/>
        </p:nvCxnSpPr>
        <p:spPr>
          <a:xfrm>
            <a:off x="2005417" y="3990236"/>
            <a:ext cx="636183" cy="0"/>
          </a:xfrm>
          <a:prstGeom prst="straightConnector1">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458FE7DD-2E58-4B7D-8F94-71E4D295AF1B}"/>
              </a:ext>
            </a:extLst>
          </p:cNvPr>
          <p:cNvCxnSpPr>
            <a:cxnSpLocks/>
            <a:stCxn id="3" idx="6"/>
            <a:endCxn id="43" idx="1"/>
          </p:cNvCxnSpPr>
          <p:nvPr/>
        </p:nvCxnSpPr>
        <p:spPr>
          <a:xfrm flipV="1">
            <a:off x="2005417" y="3281615"/>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963B0C8A-00F8-F35B-8BD6-E2D054FAAD7C}"/>
              </a:ext>
            </a:extLst>
          </p:cNvPr>
          <p:cNvCxnSpPr>
            <a:cxnSpLocks/>
            <a:stCxn id="3" idx="6"/>
            <a:endCxn id="38" idx="1"/>
          </p:cNvCxnSpPr>
          <p:nvPr/>
        </p:nvCxnSpPr>
        <p:spPr>
          <a:xfrm flipV="1">
            <a:off x="2005417" y="2572994"/>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971F3800-0C0E-ACAB-2207-E486267D0112}"/>
              </a:ext>
            </a:extLst>
          </p:cNvPr>
          <p:cNvGrpSpPr/>
          <p:nvPr/>
        </p:nvGrpSpPr>
        <p:grpSpPr>
          <a:xfrm>
            <a:off x="8888452" y="1248849"/>
            <a:ext cx="1288298" cy="241981"/>
            <a:chOff x="2641600" y="1159949"/>
            <a:chExt cx="7028545" cy="241981"/>
          </a:xfrm>
        </p:grpSpPr>
        <p:sp>
          <p:nvSpPr>
            <p:cNvPr id="35" name="Rectangle 34">
              <a:extLst>
                <a:ext uri="{FF2B5EF4-FFF2-40B4-BE49-F238E27FC236}">
                  <a16:creationId xmlns:a16="http://schemas.microsoft.com/office/drawing/2014/main" id="{E9BC9858-21BD-81C3-F216-E8A4D57D7ABC}"/>
                </a:ext>
              </a:extLst>
            </p:cNvPr>
            <p:cNvSpPr/>
            <p:nvPr/>
          </p:nvSpPr>
          <p:spPr>
            <a:xfrm>
              <a:off x="2641600" y="1159949"/>
              <a:ext cx="7028545"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所要時間目安</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2" name="Straight Connector 91">
              <a:extLst>
                <a:ext uri="{FF2B5EF4-FFF2-40B4-BE49-F238E27FC236}">
                  <a16:creationId xmlns:a16="http://schemas.microsoft.com/office/drawing/2014/main" id="{7C2B50D2-0C5C-441F-35C5-AD90093B638F}"/>
                </a:ext>
              </a:extLst>
            </p:cNvPr>
            <p:cNvCxnSpPr/>
            <p:nvPr/>
          </p:nvCxnSpPr>
          <p:spPr>
            <a:xfrm>
              <a:off x="2641600" y="1401930"/>
              <a:ext cx="702854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8" name="テキスト ボックス 1">
            <a:extLst>
              <a:ext uri="{FF2B5EF4-FFF2-40B4-BE49-F238E27FC236}">
                <a16:creationId xmlns:a16="http://schemas.microsoft.com/office/drawing/2014/main" id="{3C830E61-F95E-9ECB-BF56-0DD694E7F4F1}"/>
              </a:ext>
            </a:extLst>
          </p:cNvPr>
          <p:cNvSpPr txBox="1"/>
          <p:nvPr/>
        </p:nvSpPr>
        <p:spPr>
          <a:xfrm>
            <a:off x="8888453" y="1577098"/>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19" name="テキスト ボックス 1">
            <a:extLst>
              <a:ext uri="{FF2B5EF4-FFF2-40B4-BE49-F238E27FC236}">
                <a16:creationId xmlns:a16="http://schemas.microsoft.com/office/drawing/2014/main" id="{D7EBAFD4-9BCA-B1BA-1664-8EA2A774DCF3}"/>
              </a:ext>
            </a:extLst>
          </p:cNvPr>
          <p:cNvSpPr txBox="1"/>
          <p:nvPr/>
        </p:nvSpPr>
        <p:spPr>
          <a:xfrm>
            <a:off x="8888453" y="2285719"/>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0" name="テキスト ボックス 1">
            <a:extLst>
              <a:ext uri="{FF2B5EF4-FFF2-40B4-BE49-F238E27FC236}">
                <a16:creationId xmlns:a16="http://schemas.microsoft.com/office/drawing/2014/main" id="{B64BD9B3-7B15-4F1E-53B8-4D42A8835C7E}"/>
              </a:ext>
            </a:extLst>
          </p:cNvPr>
          <p:cNvSpPr txBox="1"/>
          <p:nvPr/>
        </p:nvSpPr>
        <p:spPr>
          <a:xfrm>
            <a:off x="8888453" y="2994340"/>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1" name="テキスト ボックス 1">
            <a:extLst>
              <a:ext uri="{FF2B5EF4-FFF2-40B4-BE49-F238E27FC236}">
                <a16:creationId xmlns:a16="http://schemas.microsoft.com/office/drawing/2014/main" id="{1D3EFEFD-98AF-0098-75CA-337372D3DA96}"/>
              </a:ext>
            </a:extLst>
          </p:cNvPr>
          <p:cNvSpPr txBox="1"/>
          <p:nvPr/>
        </p:nvSpPr>
        <p:spPr>
          <a:xfrm>
            <a:off x="8888453" y="3702961"/>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2" name="テキスト ボックス 1">
            <a:extLst>
              <a:ext uri="{FF2B5EF4-FFF2-40B4-BE49-F238E27FC236}">
                <a16:creationId xmlns:a16="http://schemas.microsoft.com/office/drawing/2014/main" id="{C8E983DC-3208-E8C2-2C9F-65EAB92BB979}"/>
              </a:ext>
            </a:extLst>
          </p:cNvPr>
          <p:cNvSpPr txBox="1"/>
          <p:nvPr/>
        </p:nvSpPr>
        <p:spPr>
          <a:xfrm>
            <a:off x="8888453" y="441158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3" name="テキスト ボックス 1">
            <a:extLst>
              <a:ext uri="{FF2B5EF4-FFF2-40B4-BE49-F238E27FC236}">
                <a16:creationId xmlns:a16="http://schemas.microsoft.com/office/drawing/2014/main" id="{AB184D17-2D77-E31F-DF36-13A61ECF1A91}"/>
              </a:ext>
            </a:extLst>
          </p:cNvPr>
          <p:cNvSpPr txBox="1"/>
          <p:nvPr/>
        </p:nvSpPr>
        <p:spPr>
          <a:xfrm>
            <a:off x="8888453" y="5120203"/>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4" name="テキスト ボックス 1">
            <a:extLst>
              <a:ext uri="{FF2B5EF4-FFF2-40B4-BE49-F238E27FC236}">
                <a16:creationId xmlns:a16="http://schemas.microsoft.com/office/drawing/2014/main" id="{8AF37472-144C-376B-D557-48792EC11B2C}"/>
              </a:ext>
            </a:extLst>
          </p:cNvPr>
          <p:cNvSpPr txBox="1"/>
          <p:nvPr/>
        </p:nvSpPr>
        <p:spPr>
          <a:xfrm>
            <a:off x="8888453" y="582882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3" name="TextBox 2">
            <a:extLst>
              <a:ext uri="{FF2B5EF4-FFF2-40B4-BE49-F238E27FC236}">
                <a16:creationId xmlns:a16="http://schemas.microsoft.com/office/drawing/2014/main" id="{1378DAE3-FA80-C989-2FF2-72B3241FE1AC}"/>
              </a:ext>
            </a:extLst>
          </p:cNvPr>
          <p:cNvSpPr txBox="1"/>
          <p:nvPr/>
        </p:nvSpPr>
        <p:spPr bwMode="gray">
          <a:xfrm>
            <a:off x="566487" y="3270771"/>
            <a:ext cx="1438930" cy="1438930"/>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lstStyle>
            <a:defPPr>
              <a:defRPr lang="en-US"/>
            </a:defPPr>
            <a:lvl1pPr algn="ctr">
              <a:lnSpc>
                <a:spcPct val="95000"/>
              </a:lnSpc>
              <a:defRPr kern="0">
                <a:solidFill>
                  <a:schemeClr val="bg1">
                    <a:lumMod val="50000"/>
                  </a:schemeClr>
                </a:solidFill>
                <a:latin typeface="BIZ UDPゴシック" panose="020B0400000000000000" pitchFamily="50" charset="-128"/>
                <a:ea typeface="BIZ UDPゴシック" panose="020B0400000000000000"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sz="4000" dirty="0">
                <a:solidFill>
                  <a:srgbClr val="FFFFFF"/>
                </a:solidFill>
                <a:sym typeface="BIZ UDPゴシック" panose="020B0400000000000000" pitchFamily="50" charset="-128"/>
              </a:rPr>
              <a:t>60</a:t>
            </a:r>
            <a:r>
              <a:rPr lang="ja-JP" altLang="en-US" sz="2400" dirty="0">
                <a:solidFill>
                  <a:srgbClr val="FFFFFF"/>
                </a:solidFill>
                <a:sym typeface="BIZ UDPゴシック" panose="020B0400000000000000" pitchFamily="50" charset="-128"/>
              </a:rPr>
              <a:t>分</a:t>
            </a:r>
            <a:endParaRPr lang="ja-JP" altLang="en-US" sz="2400" dirty="0">
              <a:solidFill>
                <a:srgbClr val="FFFFFF"/>
              </a:solidFill>
            </a:endParaRPr>
          </a:p>
        </p:txBody>
      </p:sp>
      <p:sp>
        <p:nvSpPr>
          <p:cNvPr id="12" name="Rectangle 11">
            <a:extLst>
              <a:ext uri="{FF2B5EF4-FFF2-40B4-BE49-F238E27FC236}">
                <a16:creationId xmlns:a16="http://schemas.microsoft.com/office/drawing/2014/main" id="{79C981F6-211A-81A6-14A4-E906B265F855}"/>
              </a:ext>
            </a:extLst>
          </p:cNvPr>
          <p:cNvSpPr/>
          <p:nvPr/>
        </p:nvSpPr>
        <p:spPr>
          <a:xfrm>
            <a:off x="7386321" y="6434864"/>
            <a:ext cx="4290993" cy="24198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defTabSz="914385"/>
            <a:r>
              <a:rPr kumimoji="1" lang="en-US" altLang="ja-JP"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講座時間に合わせて、各パートを説明しましょう</a:t>
            </a:r>
          </a:p>
        </p:txBody>
      </p:sp>
      <p:sp>
        <p:nvSpPr>
          <p:cNvPr id="25" name="Rectangle 24">
            <a:extLst>
              <a:ext uri="{FF2B5EF4-FFF2-40B4-BE49-F238E27FC236}">
                <a16:creationId xmlns:a16="http://schemas.microsoft.com/office/drawing/2014/main" id="{5A9A212B-5467-3BB7-6E63-9B3C8F67C82F}"/>
              </a:ext>
            </a:extLst>
          </p:cNvPr>
          <p:cNvSpPr/>
          <p:nvPr/>
        </p:nvSpPr>
        <p:spPr>
          <a:xfrm>
            <a:off x="8322707" y="143159"/>
            <a:ext cx="3302805" cy="872067"/>
          </a:xfrm>
          <a:prstGeom prst="rect">
            <a:avLst/>
          </a:prstGeom>
          <a:solidFill>
            <a:srgbClr val="FFFFFF"/>
          </a:solid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Rectangle 28">
            <a:extLst>
              <a:ext uri="{FF2B5EF4-FFF2-40B4-BE49-F238E27FC236}">
                <a16:creationId xmlns:a16="http://schemas.microsoft.com/office/drawing/2014/main" id="{1968341E-B81A-C528-6582-54FE824A6C16}"/>
              </a:ext>
            </a:extLst>
          </p:cNvPr>
          <p:cNvSpPr/>
          <p:nvPr/>
        </p:nvSpPr>
        <p:spPr>
          <a:xfrm>
            <a:off x="8322706" y="143159"/>
            <a:ext cx="973667" cy="872067"/>
          </a:xfrm>
          <a:prstGeom prst="rect">
            <a:avLst/>
          </a:prstGeom>
          <a:solidFill>
            <a:schemeClr val="tx2"/>
          </a:solidFill>
        </p:spPr>
        <p:txBody>
          <a:bodyPr wrap="none" lIns="0" tIns="0" rIns="0" bIns="21600" rtlCol="0" anchor="ctr">
            <a:noAutofit/>
          </a:bodyPr>
          <a:lstStyle/>
          <a:p>
            <a:pPr algn="ctr" defTabSz="914385"/>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度の</a:t>
            </a:r>
            <a:br>
              <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説明</a:t>
            </a:r>
            <a:endPar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 name="Rectangle 29">
            <a:extLst>
              <a:ext uri="{FF2B5EF4-FFF2-40B4-BE49-F238E27FC236}">
                <a16:creationId xmlns:a16="http://schemas.microsoft.com/office/drawing/2014/main" id="{2B14DCA1-F64C-65AE-3F37-2D5629423770}"/>
              </a:ext>
            </a:extLst>
          </p:cNvPr>
          <p:cNvSpPr/>
          <p:nvPr/>
        </p:nvSpPr>
        <p:spPr>
          <a:xfrm>
            <a:off x="10165428" y="477819"/>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1" name="Group 30">
            <a:extLst>
              <a:ext uri="{FF2B5EF4-FFF2-40B4-BE49-F238E27FC236}">
                <a16:creationId xmlns:a16="http://schemas.microsoft.com/office/drawing/2014/main" id="{AC191505-69CF-E5B7-3152-A186D2354250}"/>
              </a:ext>
            </a:extLst>
          </p:cNvPr>
          <p:cNvGrpSpPr/>
          <p:nvPr/>
        </p:nvGrpSpPr>
        <p:grpSpPr bwMode="gray">
          <a:xfrm>
            <a:off x="9519261" y="477819"/>
            <a:ext cx="446436" cy="202747"/>
            <a:chOff x="10072972" y="1583565"/>
            <a:chExt cx="939232" cy="426548"/>
          </a:xfrm>
        </p:grpSpPr>
        <p:sp>
          <p:nvSpPr>
            <p:cNvPr id="54" name="Freeform: Shape 53">
              <a:extLst>
                <a:ext uri="{FF2B5EF4-FFF2-40B4-BE49-F238E27FC236}">
                  <a16:creationId xmlns:a16="http://schemas.microsoft.com/office/drawing/2014/main" id="{1498A8A0-B2AE-419C-2EFB-35F8CE513202}"/>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56" name="Freeform: Shape 55">
              <a:extLst>
                <a:ext uri="{FF2B5EF4-FFF2-40B4-BE49-F238E27FC236}">
                  <a16:creationId xmlns:a16="http://schemas.microsoft.com/office/drawing/2014/main" id="{40D95865-F981-E417-9569-8AAF83B931BD}"/>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sp>
        <p:nvSpPr>
          <p:cNvPr id="34" name="Rectangle 33">
            <a:extLst>
              <a:ext uri="{FF2B5EF4-FFF2-40B4-BE49-F238E27FC236}">
                <a16:creationId xmlns:a16="http://schemas.microsoft.com/office/drawing/2014/main" id="{A0F7BC85-A0CD-702C-1A87-47A01FF14749}"/>
              </a:ext>
            </a:extLst>
          </p:cNvPr>
          <p:cNvSpPr/>
          <p:nvPr/>
        </p:nvSpPr>
        <p:spPr>
          <a:xfrm>
            <a:off x="10165427" y="193546"/>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特に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40" name="Group 39">
            <a:extLst>
              <a:ext uri="{FF2B5EF4-FFF2-40B4-BE49-F238E27FC236}">
                <a16:creationId xmlns:a16="http://schemas.microsoft.com/office/drawing/2014/main" id="{D1E3A470-1B54-FB31-F996-412688DF6F9B}"/>
              </a:ext>
            </a:extLst>
          </p:cNvPr>
          <p:cNvGrpSpPr/>
          <p:nvPr/>
        </p:nvGrpSpPr>
        <p:grpSpPr bwMode="gray">
          <a:xfrm>
            <a:off x="9402105" y="193546"/>
            <a:ext cx="680748" cy="202747"/>
            <a:chOff x="10072972" y="1583565"/>
            <a:chExt cx="1432187" cy="426548"/>
          </a:xfrm>
          <a:solidFill>
            <a:srgbClr val="BC5100"/>
          </a:solidFill>
        </p:grpSpPr>
        <p:sp>
          <p:nvSpPr>
            <p:cNvPr id="50" name="Freeform: Shape 49">
              <a:extLst>
                <a:ext uri="{FF2B5EF4-FFF2-40B4-BE49-F238E27FC236}">
                  <a16:creationId xmlns:a16="http://schemas.microsoft.com/office/drawing/2014/main" id="{3E18A131-D788-6478-9F77-75E323EF190F}"/>
                </a:ext>
              </a:extLst>
            </p:cNvPr>
            <p:cNvSpPr/>
            <p:nvPr/>
          </p:nvSpPr>
          <p:spPr bwMode="gray">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51" name="Freeform: Shape 50">
              <a:extLst>
                <a:ext uri="{FF2B5EF4-FFF2-40B4-BE49-F238E27FC236}">
                  <a16:creationId xmlns:a16="http://schemas.microsoft.com/office/drawing/2014/main" id="{50CF0595-D344-0C5A-4C09-9063D69C4CAF}"/>
                </a:ext>
              </a:extLst>
            </p:cNvPr>
            <p:cNvSpPr/>
            <p:nvPr/>
          </p:nvSpPr>
          <p:spPr bwMode="gray">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53" name="Freeform: Shape 52">
              <a:extLst>
                <a:ext uri="{FF2B5EF4-FFF2-40B4-BE49-F238E27FC236}">
                  <a16:creationId xmlns:a16="http://schemas.microsoft.com/office/drawing/2014/main" id="{07128485-2754-77F3-B25F-39167295002D}"/>
                </a:ext>
              </a:extLst>
            </p:cNvPr>
            <p:cNvSpPr/>
            <p:nvPr/>
          </p:nvSpPr>
          <p:spPr bwMode="gray">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42" name="Rectangle 41">
            <a:extLst>
              <a:ext uri="{FF2B5EF4-FFF2-40B4-BE49-F238E27FC236}">
                <a16:creationId xmlns:a16="http://schemas.microsoft.com/office/drawing/2014/main" id="{BBF5D54F-5384-EF42-6646-22B31A709F15}"/>
              </a:ext>
            </a:extLst>
          </p:cNvPr>
          <p:cNvSpPr/>
          <p:nvPr/>
        </p:nvSpPr>
        <p:spPr>
          <a:xfrm>
            <a:off x="10165428" y="762091"/>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自主学習も可</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7" name="Freeform: Shape 46">
            <a:extLst>
              <a:ext uri="{FF2B5EF4-FFF2-40B4-BE49-F238E27FC236}">
                <a16:creationId xmlns:a16="http://schemas.microsoft.com/office/drawing/2014/main" id="{501FBFE7-4901-8551-3B1A-784C5367D6FF}"/>
              </a:ext>
            </a:extLst>
          </p:cNvPr>
          <p:cNvSpPr/>
          <p:nvPr/>
        </p:nvSpPr>
        <p:spPr bwMode="gray">
          <a:xfrm>
            <a:off x="9636417" y="762091"/>
            <a:ext cx="212124" cy="202747"/>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cxnSp>
        <p:nvCxnSpPr>
          <p:cNvPr id="48" name="Straight Connector 47">
            <a:extLst>
              <a:ext uri="{FF2B5EF4-FFF2-40B4-BE49-F238E27FC236}">
                <a16:creationId xmlns:a16="http://schemas.microsoft.com/office/drawing/2014/main" id="{10BF5D57-C324-B667-A6EE-19C978195C06}"/>
              </a:ext>
            </a:extLst>
          </p:cNvPr>
          <p:cNvCxnSpPr/>
          <p:nvPr/>
        </p:nvCxnSpPr>
        <p:spPr>
          <a:xfrm>
            <a:off x="9402106" y="437056"/>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0AEF096-31B9-342D-1A2F-A2BD57095B89}"/>
              </a:ext>
            </a:extLst>
          </p:cNvPr>
          <p:cNvCxnSpPr/>
          <p:nvPr/>
        </p:nvCxnSpPr>
        <p:spPr>
          <a:xfrm>
            <a:off x="9402106" y="721329"/>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4209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3795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1)</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69</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D0660542-549A-468D-B95E-E57D51D11222}"/>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の発展によって、私たちの生活は大きく変化してお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私たちの生活を便利に、そして豊かにしてくれる可能性が広がっ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何ができるのか、パート５で学んで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F649E757-2082-80FF-E3A3-D0A024AA407B}"/>
              </a:ext>
            </a:extLst>
          </p:cNvPr>
          <p:cNvSpPr/>
          <p:nvPr/>
        </p:nvSpPr>
        <p:spPr bwMode="gray">
          <a:xfrm>
            <a:off x="5576552" y="202878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E8BFA579-7A7B-5250-D869-DF90CC5EAA16}"/>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FF44C689-4128-D7B6-DE22-7ECEE71508BE}"/>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8" name="Rectangle 7">
              <a:extLst>
                <a:ext uri="{FF2B5EF4-FFF2-40B4-BE49-F238E27FC236}">
                  <a16:creationId xmlns:a16="http://schemas.microsoft.com/office/drawing/2014/main" id="{A3D29034-0FD6-258B-F8BE-2980DA7634E4}"/>
                </a:ext>
              </a:extLst>
            </p:cNvPr>
            <p:cNvSpPr/>
            <p:nvPr/>
          </p:nvSpPr>
          <p:spPr bwMode="blackGray">
            <a:xfrm>
              <a:off x="566487" y="5328335"/>
              <a:ext cx="11059026" cy="831544"/>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技術は私たちの生活に不可欠であり、安全に利用すれば、便利な面も多く存在します。トラブルに巻きこまれないよう、利用を避けてしまうのではなく、受講者が前向きに活用できるよう、</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5</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明るい側面に焦点を当てることを意識して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0" name="Group 9">
              <a:extLst>
                <a:ext uri="{FF2B5EF4-FFF2-40B4-BE49-F238E27FC236}">
                  <a16:creationId xmlns:a16="http://schemas.microsoft.com/office/drawing/2014/main" id="{0E93153C-3E88-BAD7-7BB8-636A0F48ED14}"/>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D0B87D5C-6354-58E0-7D65-57ADD8B80A03}"/>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18876737-548A-09B2-3A30-90269F880D3F}"/>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0BB9DBA8-C9E8-E26D-B94B-5A5953DF7573}"/>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A405D396-C40B-A8A0-6B44-95F6C5045F9F}"/>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6BDFB7BE-838F-45B6-8920-ED05926981C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8CBA1443-5592-400D-A6FA-6B15B0C4F929}"/>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2914B525-165C-4081-BB6D-D939D4DC2EA3}"/>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E1106195-F9BB-4610-A9C1-AD72B1EC6518}"/>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449655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70414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2)</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70</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DCA87BE8-62A7-4CE0-8F29-6AF9BB4E7D00}"/>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はこれまで進化し続けてきました。</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インターネットや携帯電話の普及によって、メールや情報の検索、</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通販ができるようになりました。</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スマートフォンの普及が大きな変化をもたらし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や地図アプリ、音楽配信、ソーシャルゲーム、ニュースアプリなど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一般的になりました。</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らに、スマートホーム、フードデリバリーのように生活を便利にす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サービス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VR/A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ように今後の社会を大きく変え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可能性がある新たな技術が登場し、これらは更なる進化を続け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206CB86F-B249-3256-2447-CBE2FB7EB553}"/>
              </a:ext>
            </a:extLst>
          </p:cNvPr>
          <p:cNvSpPr/>
          <p:nvPr/>
        </p:nvSpPr>
        <p:spPr bwMode="gray">
          <a:xfrm>
            <a:off x="5576552" y="43357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4B2C45E-11AA-4B13-921A-5D6564F9CC7A}"/>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32DDEE07-16ED-4C77-86C0-DC014181400B}"/>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59EC30F6-5CE9-42BC-8892-E0E45D65001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AAD429C4-38B6-4F88-BBDA-E622272855BA}"/>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530891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464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3)</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71</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B333C65F-A191-4716-87D5-A730C55ED032}"/>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技術により、</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複雑な問題を解決したり、新しいアイデア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考えてく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新しい仮想空間であるメタバース空間では、距離が離れた相手と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現実と変わらない感覚で交流できるようになり、</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張現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V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仮想現実）などの技術も仮想空間の浸透を後押しし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スマートシティと呼ばれる、都市全体のデータを活用し、人々の生活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り便利に安全にする街づくりや、移動手段においても、自動運転により、誰でもどこでも移動しやすい社会の実現が期待され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Io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ロボットとの共生では、人手を必要とする作業にもロボット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対応できるようになり、家事や介護、仕事など、日常の生活を手助け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く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6079B413-74A0-3E97-E45A-4EFFAA9D003A}"/>
              </a:ext>
            </a:extLst>
          </p:cNvPr>
          <p:cNvSpPr/>
          <p:nvPr/>
        </p:nvSpPr>
        <p:spPr bwMode="gray">
          <a:xfrm>
            <a:off x="5576552" y="40772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5" name="Group 4">
            <a:extLst>
              <a:ext uri="{FF2B5EF4-FFF2-40B4-BE49-F238E27FC236}">
                <a16:creationId xmlns:a16="http://schemas.microsoft.com/office/drawing/2014/main" id="{B3D4EF43-1F09-3EBD-49BE-33B839E0773C}"/>
              </a:ext>
            </a:extLst>
          </p:cNvPr>
          <p:cNvGrpSpPr/>
          <p:nvPr/>
        </p:nvGrpSpPr>
        <p:grpSpPr bwMode="blackGray">
          <a:xfrm>
            <a:off x="0" y="4940300"/>
            <a:ext cx="12192000" cy="1409700"/>
            <a:chOff x="0" y="4876800"/>
            <a:chExt cx="12192000" cy="1409700"/>
          </a:xfrm>
        </p:grpSpPr>
        <p:sp>
          <p:nvSpPr>
            <p:cNvPr id="7" name="Rectangle 6">
              <a:extLst>
                <a:ext uri="{FF2B5EF4-FFF2-40B4-BE49-F238E27FC236}">
                  <a16:creationId xmlns:a16="http://schemas.microsoft.com/office/drawing/2014/main" id="{F40C6958-0564-A333-933B-1C49D957AB09}"/>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8" name="Rectangle 7">
              <a:extLst>
                <a:ext uri="{FF2B5EF4-FFF2-40B4-BE49-F238E27FC236}">
                  <a16:creationId xmlns:a16="http://schemas.microsoft.com/office/drawing/2014/main" id="{93C5D82C-8C25-1A39-3ACC-FE0445E79446}"/>
                </a:ext>
              </a:extLst>
            </p:cNvPr>
            <p:cNvSpPr/>
            <p:nvPr/>
          </p:nvSpPr>
          <p:spPr bwMode="blackGray">
            <a:xfrm>
              <a:off x="566487" y="5328335"/>
              <a:ext cx="11059026" cy="831544"/>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技術が発展し続けていること、暮らしを便利にする可能性がひろがっていることを知ってもらい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0" name="Group 9">
              <a:extLst>
                <a:ext uri="{FF2B5EF4-FFF2-40B4-BE49-F238E27FC236}">
                  <a16:creationId xmlns:a16="http://schemas.microsoft.com/office/drawing/2014/main" id="{3167CDFE-A507-B60D-B864-2F7523DD833A}"/>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2DC6FC2D-195D-B664-4360-2912E9926C80}"/>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E8381D4C-99DE-AFB7-4F33-FB190B541A17}"/>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65357631-D71E-D69A-636C-E44E31B90BFF}"/>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F47B723D-E05D-F0E7-444A-EF89D2095C6A}"/>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FFA58EE1-FEEC-4B68-A0B3-E060FA6CF493}"/>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F2420F38-B0F7-4340-9EF2-9E95A73D04EE}"/>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80A14129-181A-40F9-85D5-65B361A30C8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5741490E-823D-427B-8534-2AB540AEE348}"/>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6508610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7424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うしたデジタル技術を使い、便利なＷＥＢサービスはたくさん存在し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どれくらい使ったことがある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1773098"/>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bwMode="blackGray">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使ったことがある</a:t>
              </a: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WEB</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サービスや、どのように使ったかなど講師や受講者間で共有する時間をとるなど、使用したことのないサービスも含めて、これらのサービスが身近な存在であることを実感してもらい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WEB</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サービスの利用経験がない方にも、サービス内容や利用方法を分かりやすく説明することを意識し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5" name="Group 14">
              <a:extLst>
                <a:ext uri="{FF2B5EF4-FFF2-40B4-BE49-F238E27FC236}">
                  <a16:creationId xmlns:a16="http://schemas.microsoft.com/office/drawing/2014/main" id="{526277A9-A3F6-471D-BDB5-BAA7C7AFEB95}"/>
                </a:ext>
              </a:extLst>
            </p:cNvPr>
            <p:cNvGrpSpPr/>
            <p:nvPr/>
          </p:nvGrpSpPr>
          <p:grpSpPr bwMode="blackGray">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bwMode="blackGray">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509827BE-B50F-4D1E-8BDD-8CA210E55759}"/>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6194483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1675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の検索サービスの例を見てい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検索サービスによって、調べたいことに関連するキーワードで検索をすると情報が得られ、自主的な学習に役立てられます。</a:t>
            </a:r>
          </a:p>
          <a:p>
            <a:pPr>
              <a:lnSpc>
                <a:spcPct val="120000"/>
              </a:lnSpc>
            </a:pP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地図アプリでは、行きたい場所をすぐに見つけることがで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ャットボットを利用すると、質問に対して</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学習した内容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組み合わせて回答してくれ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5740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70F3F3F9-4EFD-425F-BFB0-A3D30D2C89DC}"/>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9285663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73325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を発信・交換できるサービスについてみてい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ソーシャル・ネットワーキング・サービス）は自分の考えや作成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ンテンツを投稿したり、他の人の投稿を閲覧することがで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メッセージをやり取りすることも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メッセージをやり取りするサービス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ほかに、メッセージアプリ</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も存在します。メッセージアプリ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異なり、特定の相手との</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交換に利用され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5740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6A1D9D9A-406C-41DA-BF8D-D1E2A8A48A81}"/>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194709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46655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どこにいても生活に必要なサービスを受けられ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WE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サービスを紹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しょう。</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オンライン行政サービス」では、役所などに出向かなくても行政サービス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検索やオンライン申請・届出がで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オンライン診療サービス」では、家にいながら医師の診察を受け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とができ、薬の配達を頼める場合もあ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324292"/>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B628C101-89BC-4797-933F-EFB8B04D67B0}"/>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5054423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33169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ュースをすぐに手に入れられる、ニュースサイトやアプリは利用したことがあるでしょうか？ウェブ上やアプリ上でニュースが読めるだけでなく、</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新しいニュースが出たら、すぐに分かるように通知を受け取ること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防災アプリでは、避難情報や、避難所の位置を確認できた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豪雨の予報など、災害が発生しそうな際に通知を受け取れるもの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298870"/>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91545D8A-230E-4F61-8FFC-FA3646588755}"/>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1816577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2970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6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お財布や現金を使わず、支払いや送金ができるサービスも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アプリと銀行口座やクレジットカードをつなげて、スマホだけで支払い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たり、銀行に行かなくてもオンラインでお金を送金できるアプリ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52327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AAD61F26-4CDC-48DC-8E6A-12E6CD01B49F}"/>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6378524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2710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2287999"/>
          </a:xfrm>
          <a:prstGeom prst="rect">
            <a:avLst/>
          </a:prstGeom>
          <a:noFill/>
        </p:spPr>
        <p:txBody>
          <a:bodyPr wrap="square" lIns="0" tIns="0" rIns="0" bIns="0" rtlCol="0">
            <a:spAutoFit/>
          </a:bodyPr>
          <a:lstStyle/>
          <a:p>
            <a:pPr>
              <a:lnSpc>
                <a:spcPct val="120000"/>
              </a:lnSpc>
            </a:pPr>
            <a:r>
              <a:rPr kumimoji="1" lang="ja-JP" altLang="en-US" sz="1400" spc="100">
                <a:latin typeface="BIZ UDPGothic" panose="020B0400000000000000" pitchFamily="34" charset="-128"/>
                <a:ea typeface="BIZ UDPGothic" panose="020B0400000000000000" pitchFamily="34" charset="-128"/>
                <a:sym typeface="BIZ UDPゴシック" panose="020B0400000000000000" pitchFamily="50" charset="-128"/>
              </a:rPr>
              <a:t>遠くの人と共同で作業ができるサービスは利用したことがあります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ファイル共有サービスは、文章や写真などのファイルをオンライン上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存することができます。また保存したファイル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URL</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共有することで、ほかの人と同時にファイルを閲覧したり、編集したりできるサービス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文章作成ソフトでは、キーボードで入力した文書のデータを、電子的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存できます。文書の間に写真やイラストを入れたり、文書を印刷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配布することも可能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355740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56D3F0FB-35EB-4DF6-8A77-EB332749AD5A}"/>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6933142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AF64A-85FD-AC43-A9B8-4CD9954ACFA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6E6ACC-6015-C013-3B1F-F23E6B0F1E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1" imgH="423" progId="TCLayout.ActiveDocument.1">
                  <p:embed/>
                </p:oleObj>
              </mc:Choice>
              <mc:Fallback>
                <p:oleObj name="think-cell Slide" r:id="rId17" imgW="421" imgH="423" progId="TCLayout.ActiveDocument.1">
                  <p:embed/>
                  <p:pic>
                    <p:nvPicPr>
                      <p:cNvPr id="4" name="Object 3" hidden="1">
                        <a:extLst>
                          <a:ext uri="{FF2B5EF4-FFF2-40B4-BE49-F238E27FC236}">
                            <a16:creationId xmlns:a16="http://schemas.microsoft.com/office/drawing/2014/main" id="{356E6ACC-6015-C013-3B1F-F23E6B0F1E9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0" name="Textfeld 1">
            <a:extLst>
              <a:ext uri="{FF2B5EF4-FFF2-40B4-BE49-F238E27FC236}">
                <a16:creationId xmlns:a16="http://schemas.microsoft.com/office/drawing/2014/main" id="{0A935FCD-583B-126C-12ED-89CEDBE62EBE}"/>
              </a:ext>
            </a:extLst>
          </p:cNvPr>
          <p:cNvSpPr txBox="1"/>
          <p:nvPr>
            <p:custDataLst>
              <p:tags r:id="rId2"/>
            </p:custDataLst>
          </p:nvPr>
        </p:nvSpPr>
        <p:spPr>
          <a:xfrm>
            <a:off x="566487"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1" name="Textfeld 1">
            <a:extLst>
              <a:ext uri="{FF2B5EF4-FFF2-40B4-BE49-F238E27FC236}">
                <a16:creationId xmlns:a16="http://schemas.microsoft.com/office/drawing/2014/main" id="{D6E4FB45-2268-1A4B-2952-07B47A9A8C2E}"/>
              </a:ext>
            </a:extLst>
          </p:cNvPr>
          <p:cNvSpPr txBox="1"/>
          <p:nvPr>
            <p:custDataLst>
              <p:tags r:id="rId3"/>
            </p:custDataLst>
          </p:nvPr>
        </p:nvSpPr>
        <p:spPr>
          <a:xfrm>
            <a:off x="4399670"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2" name="Textfeld 1">
            <a:extLst>
              <a:ext uri="{FF2B5EF4-FFF2-40B4-BE49-F238E27FC236}">
                <a16:creationId xmlns:a16="http://schemas.microsoft.com/office/drawing/2014/main" id="{0AE2BF45-18F4-C4F3-564D-0413138D8CF5}"/>
              </a:ext>
            </a:extLst>
          </p:cNvPr>
          <p:cNvSpPr txBox="1"/>
          <p:nvPr>
            <p:custDataLst>
              <p:tags r:id="rId4"/>
            </p:custDataLst>
          </p:nvPr>
        </p:nvSpPr>
        <p:spPr>
          <a:xfrm>
            <a:off x="8232852"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35" name="タイトル 5">
            <a:extLst>
              <a:ext uri="{FF2B5EF4-FFF2-40B4-BE49-F238E27FC236}">
                <a16:creationId xmlns:a16="http://schemas.microsoft.com/office/drawing/2014/main" id="{B93251F9-AF24-DB8F-1780-BB193C3A5DC7}"/>
              </a:ext>
            </a:extLst>
          </p:cNvPr>
          <p:cNvSpPr>
            <a:spLocks noGrp="1"/>
          </p:cNvSpPr>
          <p:nvPr>
            <p:ph type="title"/>
          </p:nvPr>
        </p:nvSpPr>
        <p:spPr>
          <a:xfrm>
            <a:off x="566487" y="302026"/>
            <a:ext cx="11059026" cy="369332"/>
          </a:xfrm>
        </p:spPr>
        <p:txBody>
          <a:bodyPr vert="horz"/>
          <a:lstStyle/>
          <a:p>
            <a:r>
              <a:rPr lang="ja-JP" altLang="en-US" dirty="0"/>
              <a:t>講座実施時のポイント</a:t>
            </a:r>
            <a:endParaRPr lang="ja-JP" altLang="en-US" dirty="0">
              <a:latin typeface="BIZ UDPゴシック" panose="020B0400000000000000" pitchFamily="50" charset="-128"/>
            </a:endParaRPr>
          </a:p>
        </p:txBody>
      </p:sp>
      <p:sp>
        <p:nvSpPr>
          <p:cNvPr id="7" name="Slide Number Placeholder 6">
            <a:extLst>
              <a:ext uri="{FF2B5EF4-FFF2-40B4-BE49-F238E27FC236}">
                <a16:creationId xmlns:a16="http://schemas.microsoft.com/office/drawing/2014/main" id="{A1E4257D-8B7F-D666-F837-B4851A0E7583}"/>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a:t>
            </a:fld>
            <a:endParaRPr lang="ja-JP" altLang="en-US"/>
          </a:p>
        </p:txBody>
      </p:sp>
      <p:sp>
        <p:nvSpPr>
          <p:cNvPr id="76" name="Textfeld 1">
            <a:extLst>
              <a:ext uri="{FF2B5EF4-FFF2-40B4-BE49-F238E27FC236}">
                <a16:creationId xmlns:a16="http://schemas.microsoft.com/office/drawing/2014/main" id="{719377D1-B6C1-CA4F-E95A-DBEC1F3CFA01}"/>
              </a:ext>
            </a:extLst>
          </p:cNvPr>
          <p:cNvSpPr txBox="1"/>
          <p:nvPr>
            <p:custDataLst>
              <p:tags r:id="rId5"/>
            </p:custDataLst>
          </p:nvPr>
        </p:nvSpPr>
        <p:spPr>
          <a:xfrm>
            <a:off x="4399669"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なりすまし詐欺</a:t>
            </a:r>
            <a:br>
              <a:rPr lang="en-US" altLang="ja-JP" sz="2000" dirty="0">
                <a:sym typeface="BIZ UDPゴシック" panose="020B0400000000000000" pitchFamily="50" charset="-128"/>
              </a:rPr>
            </a:br>
            <a:r>
              <a:rPr lang="ja-JP" altLang="en-US" sz="2000" dirty="0">
                <a:sym typeface="BIZ UDPゴシック" panose="020B0400000000000000" pitchFamily="50" charset="-128"/>
              </a:rPr>
              <a:t>など、シニアの皆さま</a:t>
            </a:r>
            <a:br>
              <a:rPr lang="en-US" altLang="ja-JP" sz="2000" dirty="0">
                <a:sym typeface="BIZ UDPゴシック" panose="020B0400000000000000" pitchFamily="50" charset="-128"/>
              </a:rPr>
            </a:br>
            <a:r>
              <a:rPr lang="ja-JP" altLang="en-US" sz="2000" dirty="0">
                <a:sym typeface="BIZ UDPゴシック" panose="020B0400000000000000" pitchFamily="50" charset="-128"/>
              </a:rPr>
              <a:t>にとって身近なテーマや</a:t>
            </a:r>
            <a:br>
              <a:rPr lang="en-US" altLang="ja-JP" sz="2000" dirty="0">
                <a:sym typeface="BIZ UDPゴシック" panose="020B0400000000000000" pitchFamily="50" charset="-128"/>
              </a:rPr>
            </a:br>
            <a:r>
              <a:rPr lang="ja-JP" altLang="en-US" sz="2000" dirty="0">
                <a:sym typeface="BIZ UDPゴシック" panose="020B0400000000000000" pitchFamily="50" charset="-128"/>
              </a:rPr>
              <a:t>最新事例を学べる</a:t>
            </a:r>
          </a:p>
        </p:txBody>
      </p:sp>
      <p:sp>
        <p:nvSpPr>
          <p:cNvPr id="77" name="Textfeld 1">
            <a:extLst>
              <a:ext uri="{FF2B5EF4-FFF2-40B4-BE49-F238E27FC236}">
                <a16:creationId xmlns:a16="http://schemas.microsoft.com/office/drawing/2014/main" id="{ACB888AA-F668-3ACF-CE9C-D9E1DDABD6CF}"/>
              </a:ext>
            </a:extLst>
          </p:cNvPr>
          <p:cNvSpPr txBox="1"/>
          <p:nvPr>
            <p:custDataLst>
              <p:tags r:id="rId6"/>
            </p:custDataLst>
          </p:nvPr>
        </p:nvSpPr>
        <p:spPr>
          <a:xfrm>
            <a:off x="566487"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特徴を理解することで、</a:t>
            </a:r>
            <a:br>
              <a:rPr lang="en-US" altLang="ja-JP" sz="2000" dirty="0">
                <a:sym typeface="BIZ UDPゴシック" panose="020B0400000000000000" pitchFamily="50" charset="-128"/>
              </a:rPr>
            </a:br>
            <a:r>
              <a:rPr lang="ja-JP" altLang="en-US" sz="2000" dirty="0">
                <a:sym typeface="BIZ UDPゴシック" panose="020B0400000000000000" pitchFamily="50" charset="-128"/>
              </a:rPr>
              <a:t>新たな課題にも対処できる</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能力を身につける</a:t>
            </a:r>
          </a:p>
        </p:txBody>
      </p:sp>
      <p:sp>
        <p:nvSpPr>
          <p:cNvPr id="78" name="Textfeld 1">
            <a:extLst>
              <a:ext uri="{FF2B5EF4-FFF2-40B4-BE49-F238E27FC236}">
                <a16:creationId xmlns:a16="http://schemas.microsoft.com/office/drawing/2014/main" id="{490378C0-1294-61A3-E142-984BB0DDD09B}"/>
              </a:ext>
            </a:extLst>
          </p:cNvPr>
          <p:cNvSpPr txBox="1"/>
          <p:nvPr>
            <p:custDataLst>
              <p:tags r:id="rId7"/>
            </p:custDataLst>
          </p:nvPr>
        </p:nvSpPr>
        <p:spPr>
          <a:xfrm>
            <a:off x="8232852"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受講者との意見共有や、</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質問、振り返りを通じて</a:t>
            </a:r>
            <a:br>
              <a:rPr lang="en-US" altLang="ja-JP" sz="2000" dirty="0">
                <a:sym typeface="BIZ UDPゴシック" panose="020B0400000000000000" pitchFamily="50" charset="-128"/>
              </a:rPr>
            </a:br>
            <a:r>
              <a:rPr lang="ja-JP" altLang="en-US" sz="2000" dirty="0">
                <a:sym typeface="BIZ UDPゴシック" panose="020B0400000000000000" pitchFamily="50" charset="-128"/>
              </a:rPr>
              <a:t>一緒に考える</a:t>
            </a:r>
          </a:p>
        </p:txBody>
      </p:sp>
      <p:sp>
        <p:nvSpPr>
          <p:cNvPr id="13" name="Oval 12">
            <a:extLst>
              <a:ext uri="{FF2B5EF4-FFF2-40B4-BE49-F238E27FC236}">
                <a16:creationId xmlns:a16="http://schemas.microsoft.com/office/drawing/2014/main" id="{5C5E60BF-0FE2-8E6E-59C4-C5C524BB319E}"/>
              </a:ext>
            </a:extLst>
          </p:cNvPr>
          <p:cNvSpPr/>
          <p:nvPr>
            <p:custDataLst>
              <p:tags r:id="rId8"/>
            </p:custDataLst>
          </p:nvPr>
        </p:nvSpPr>
        <p:spPr bwMode="gray">
          <a:xfrm>
            <a:off x="9234253"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3" name="Group 32">
            <a:extLst>
              <a:ext uri="{FF2B5EF4-FFF2-40B4-BE49-F238E27FC236}">
                <a16:creationId xmlns:a16="http://schemas.microsoft.com/office/drawing/2014/main" id="{B1B1FEBD-1575-D0D2-3FC6-354CF2708877}"/>
              </a:ext>
            </a:extLst>
          </p:cNvPr>
          <p:cNvGrpSpPr/>
          <p:nvPr/>
        </p:nvGrpSpPr>
        <p:grpSpPr bwMode="ltGray">
          <a:xfrm>
            <a:off x="9426237" y="1657317"/>
            <a:ext cx="1005890" cy="776108"/>
            <a:chOff x="5387022" y="2882899"/>
            <a:chExt cx="1417956" cy="1095377"/>
          </a:xfrm>
          <a:solidFill>
            <a:srgbClr val="FF862C"/>
          </a:solidFill>
        </p:grpSpPr>
        <p:sp>
          <p:nvSpPr>
            <p:cNvPr id="46" name="Freeform 14">
              <a:extLst>
                <a:ext uri="{FF2B5EF4-FFF2-40B4-BE49-F238E27FC236}">
                  <a16:creationId xmlns:a16="http://schemas.microsoft.com/office/drawing/2014/main" id="{CEAB0AB0-C37A-1ACB-F684-3F9F3D000559}"/>
                </a:ext>
              </a:extLst>
            </p:cNvPr>
            <p:cNvSpPr>
              <a:spLocks/>
            </p:cNvSpPr>
            <p:nvPr/>
          </p:nvSpPr>
          <p:spPr bwMode="ltGray">
            <a:xfrm>
              <a:off x="5387022" y="2919413"/>
              <a:ext cx="1270953" cy="1058863"/>
            </a:xfrm>
            <a:custGeom>
              <a:avLst/>
              <a:gdLst>
                <a:gd name="connsiteX0" fmla="*/ 903720 w 1270953"/>
                <a:gd name="connsiteY0" fmla="*/ 565150 h 1058863"/>
                <a:gd name="connsiteX1" fmla="*/ 904433 w 1270953"/>
                <a:gd name="connsiteY1" fmla="*/ 565864 h 1058863"/>
                <a:gd name="connsiteX2" fmla="*/ 933669 w 1270953"/>
                <a:gd name="connsiteY2" fmla="*/ 598683 h 1058863"/>
                <a:gd name="connsiteX3" fmla="*/ 928678 w 1270953"/>
                <a:gd name="connsiteY3" fmla="*/ 644344 h 1058863"/>
                <a:gd name="connsiteX4" fmla="*/ 891598 w 1270953"/>
                <a:gd name="connsiteY4" fmla="*/ 702134 h 1058863"/>
                <a:gd name="connsiteX5" fmla="*/ 873771 w 1270953"/>
                <a:gd name="connsiteY5" fmla="*/ 727819 h 1058863"/>
                <a:gd name="connsiteX6" fmla="*/ 922973 w 1270953"/>
                <a:gd name="connsiteY6" fmla="*/ 738520 h 1058863"/>
                <a:gd name="connsiteX7" fmla="*/ 935809 w 1270953"/>
                <a:gd name="connsiteY7" fmla="*/ 742801 h 1058863"/>
                <a:gd name="connsiteX8" fmla="*/ 940800 w 1270953"/>
                <a:gd name="connsiteY8" fmla="*/ 755643 h 1058863"/>
                <a:gd name="connsiteX9" fmla="*/ 945079 w 1270953"/>
                <a:gd name="connsiteY9" fmla="*/ 887633 h 1058863"/>
                <a:gd name="connsiteX10" fmla="*/ 1008542 w 1270953"/>
                <a:gd name="connsiteY10" fmla="*/ 894768 h 1058863"/>
                <a:gd name="connsiteX11" fmla="*/ 1069866 w 1270953"/>
                <a:gd name="connsiteY11" fmla="*/ 891200 h 1058863"/>
                <a:gd name="connsiteX12" fmla="*/ 1081989 w 1270953"/>
                <a:gd name="connsiteY12" fmla="*/ 893341 h 1058863"/>
                <a:gd name="connsiteX13" fmla="*/ 1089119 w 1270953"/>
                <a:gd name="connsiteY13" fmla="*/ 906183 h 1058863"/>
                <a:gd name="connsiteX14" fmla="*/ 1089119 w 1270953"/>
                <a:gd name="connsiteY14" fmla="*/ 1027471 h 1058863"/>
                <a:gd name="connsiteX15" fmla="*/ 1239578 w 1270953"/>
                <a:gd name="connsiteY15" fmla="*/ 993225 h 1058863"/>
                <a:gd name="connsiteX16" fmla="*/ 1239578 w 1270953"/>
                <a:gd name="connsiteY16" fmla="*/ 939002 h 1058863"/>
                <a:gd name="connsiteX17" fmla="*/ 1239578 w 1270953"/>
                <a:gd name="connsiteY17" fmla="*/ 938289 h 1058863"/>
                <a:gd name="connsiteX18" fmla="*/ 1241717 w 1270953"/>
                <a:gd name="connsiteY18" fmla="*/ 939716 h 1058863"/>
                <a:gd name="connsiteX19" fmla="*/ 1256692 w 1270953"/>
                <a:gd name="connsiteY19" fmla="*/ 942569 h 1058863"/>
                <a:gd name="connsiteX20" fmla="*/ 1270953 w 1270953"/>
                <a:gd name="connsiteY20" fmla="*/ 940429 h 1058863"/>
                <a:gd name="connsiteX21" fmla="*/ 1270953 w 1270953"/>
                <a:gd name="connsiteY21" fmla="*/ 1002500 h 1058863"/>
                <a:gd name="connsiteX22" fmla="*/ 1263109 w 1270953"/>
                <a:gd name="connsiteY22" fmla="*/ 1016056 h 1058863"/>
                <a:gd name="connsiteX23" fmla="*/ 1088406 w 1270953"/>
                <a:gd name="connsiteY23" fmla="*/ 1058863 h 1058863"/>
                <a:gd name="connsiteX24" fmla="*/ 1072719 w 1270953"/>
                <a:gd name="connsiteY24" fmla="*/ 1058150 h 1058863"/>
                <a:gd name="connsiteX25" fmla="*/ 1057744 w 1270953"/>
                <a:gd name="connsiteY25" fmla="*/ 1042454 h 1058863"/>
                <a:gd name="connsiteX26" fmla="*/ 1057744 w 1270953"/>
                <a:gd name="connsiteY26" fmla="*/ 924020 h 1058863"/>
                <a:gd name="connsiteX27" fmla="*/ 1009968 w 1270953"/>
                <a:gd name="connsiteY27" fmla="*/ 926160 h 1058863"/>
                <a:gd name="connsiteX28" fmla="*/ 922973 w 1270953"/>
                <a:gd name="connsiteY28" fmla="*/ 909750 h 1058863"/>
                <a:gd name="connsiteX29" fmla="*/ 906573 w 1270953"/>
                <a:gd name="connsiteY29" fmla="*/ 819141 h 1058863"/>
                <a:gd name="connsiteX30" fmla="*/ 907999 w 1270953"/>
                <a:gd name="connsiteY30" fmla="*/ 770626 h 1058863"/>
                <a:gd name="connsiteX31" fmla="*/ 843822 w 1270953"/>
                <a:gd name="connsiteY31" fmla="*/ 739234 h 1058863"/>
                <a:gd name="connsiteX32" fmla="*/ 869493 w 1270953"/>
                <a:gd name="connsiteY32" fmla="*/ 680017 h 1058863"/>
                <a:gd name="connsiteX33" fmla="*/ 899442 w 1270953"/>
                <a:gd name="connsiteY33" fmla="*/ 632929 h 1058863"/>
                <a:gd name="connsiteX34" fmla="*/ 903007 w 1270953"/>
                <a:gd name="connsiteY34" fmla="*/ 589408 h 1058863"/>
                <a:gd name="connsiteX35" fmla="*/ 903720 w 1270953"/>
                <a:gd name="connsiteY35" fmla="*/ 565150 h 1058863"/>
                <a:gd name="connsiteX36" fmla="*/ 275370 w 1270953"/>
                <a:gd name="connsiteY36" fmla="*/ 357187 h 1058863"/>
                <a:gd name="connsiteX37" fmla="*/ 298221 w 1270953"/>
                <a:gd name="connsiteY37" fmla="*/ 357901 h 1058863"/>
                <a:gd name="connsiteX38" fmla="*/ 514589 w 1270953"/>
                <a:gd name="connsiteY38" fmla="*/ 483559 h 1058863"/>
                <a:gd name="connsiteX39" fmla="*/ 514589 w 1270953"/>
                <a:gd name="connsiteY39" fmla="*/ 488557 h 1058863"/>
                <a:gd name="connsiteX40" fmla="*/ 507448 w 1270953"/>
                <a:gd name="connsiteY40" fmla="*/ 517116 h 1058863"/>
                <a:gd name="connsiteX41" fmla="*/ 489596 w 1270953"/>
                <a:gd name="connsiteY41" fmla="*/ 546388 h 1058863"/>
                <a:gd name="connsiteX42" fmla="*/ 483169 w 1270953"/>
                <a:gd name="connsiteY42" fmla="*/ 555670 h 1058863"/>
                <a:gd name="connsiteX43" fmla="*/ 333211 w 1270953"/>
                <a:gd name="connsiteY43" fmla="*/ 671332 h 1058863"/>
                <a:gd name="connsiteX44" fmla="*/ 331783 w 1270953"/>
                <a:gd name="connsiteY44" fmla="*/ 671332 h 1058863"/>
                <a:gd name="connsiteX45" fmla="*/ 329641 w 1270953"/>
                <a:gd name="connsiteY45" fmla="*/ 664193 h 1058863"/>
                <a:gd name="connsiteX46" fmla="*/ 359632 w 1270953"/>
                <a:gd name="connsiteY46" fmla="*/ 634206 h 1058863"/>
                <a:gd name="connsiteX47" fmla="*/ 210388 w 1270953"/>
                <a:gd name="connsiteY47" fmla="*/ 699177 h 1058863"/>
                <a:gd name="connsiteX48" fmla="*/ 145406 w 1270953"/>
                <a:gd name="connsiteY48" fmla="*/ 816268 h 1058863"/>
                <a:gd name="connsiteX49" fmla="*/ 163258 w 1270953"/>
                <a:gd name="connsiteY49" fmla="*/ 911225 h 1058863"/>
                <a:gd name="connsiteX50" fmla="*/ 161830 w 1270953"/>
                <a:gd name="connsiteY50" fmla="*/ 911225 h 1058863"/>
                <a:gd name="connsiteX51" fmla="*/ 28296 w 1270953"/>
                <a:gd name="connsiteY51" fmla="*/ 499266 h 1058863"/>
                <a:gd name="connsiteX52" fmla="*/ 275370 w 1270953"/>
                <a:gd name="connsiteY52" fmla="*/ 357187 h 1058863"/>
                <a:gd name="connsiteX53" fmla="*/ 745473 w 1270953"/>
                <a:gd name="connsiteY53" fmla="*/ 0 h 1058863"/>
                <a:gd name="connsiteX54" fmla="*/ 998793 w 1270953"/>
                <a:gd name="connsiteY54" fmla="*/ 0 h 1058863"/>
                <a:gd name="connsiteX55" fmla="*/ 1036003 w 1270953"/>
                <a:gd name="connsiteY55" fmla="*/ 37211 h 1058863"/>
                <a:gd name="connsiteX56" fmla="*/ 1036003 w 1270953"/>
                <a:gd name="connsiteY56" fmla="*/ 197503 h 1058863"/>
                <a:gd name="connsiteX57" fmla="*/ 998793 w 1270953"/>
                <a:gd name="connsiteY57" fmla="*/ 234714 h 1058863"/>
                <a:gd name="connsiteX58" fmla="*/ 935105 w 1270953"/>
                <a:gd name="connsiteY58" fmla="*/ 234714 h 1058863"/>
                <a:gd name="connsiteX59" fmla="*/ 935105 w 1270953"/>
                <a:gd name="connsiteY59" fmla="*/ 320585 h 1058863"/>
                <a:gd name="connsiteX60" fmla="*/ 926518 w 1270953"/>
                <a:gd name="connsiteY60" fmla="*/ 327025 h 1058863"/>
                <a:gd name="connsiteX61" fmla="*/ 914353 w 1270953"/>
                <a:gd name="connsiteY61" fmla="*/ 320585 h 1058863"/>
                <a:gd name="connsiteX62" fmla="*/ 834922 w 1270953"/>
                <a:gd name="connsiteY62" fmla="*/ 234714 h 1058863"/>
                <a:gd name="connsiteX63" fmla="*/ 745473 w 1270953"/>
                <a:gd name="connsiteY63" fmla="*/ 234714 h 1058863"/>
                <a:gd name="connsiteX64" fmla="*/ 708978 w 1270953"/>
                <a:gd name="connsiteY64" fmla="*/ 197503 h 1058863"/>
                <a:gd name="connsiteX65" fmla="*/ 708978 w 1270953"/>
                <a:gd name="connsiteY65" fmla="*/ 196072 h 1058863"/>
                <a:gd name="connsiteX66" fmla="*/ 708978 w 1270953"/>
                <a:gd name="connsiteY66" fmla="*/ 37211 h 1058863"/>
                <a:gd name="connsiteX67" fmla="*/ 729730 w 1270953"/>
                <a:gd name="connsiteY67" fmla="*/ 3578 h 1058863"/>
                <a:gd name="connsiteX68" fmla="*/ 734740 w 1270953"/>
                <a:gd name="connsiteY68" fmla="*/ 1431 h 1058863"/>
                <a:gd name="connsiteX69" fmla="*/ 745473 w 1270953"/>
                <a:gd name="connsiteY69" fmla="*/ 0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70953" h="1058863">
                  <a:moveTo>
                    <a:pt x="903720" y="565150"/>
                  </a:moveTo>
                  <a:cubicBezTo>
                    <a:pt x="903720" y="565150"/>
                    <a:pt x="904433" y="565864"/>
                    <a:pt x="904433" y="565864"/>
                  </a:cubicBezTo>
                  <a:cubicBezTo>
                    <a:pt x="911564" y="575852"/>
                    <a:pt x="921547" y="586554"/>
                    <a:pt x="933669" y="598683"/>
                  </a:cubicBezTo>
                  <a:cubicBezTo>
                    <a:pt x="932956" y="620800"/>
                    <a:pt x="932243" y="635782"/>
                    <a:pt x="928678" y="644344"/>
                  </a:cubicBezTo>
                  <a:cubicBezTo>
                    <a:pt x="925112" y="652905"/>
                    <a:pt x="912277" y="682157"/>
                    <a:pt x="891598" y="702134"/>
                  </a:cubicBezTo>
                  <a:cubicBezTo>
                    <a:pt x="881615" y="712836"/>
                    <a:pt x="875910" y="722824"/>
                    <a:pt x="873771" y="727819"/>
                  </a:cubicBezTo>
                  <a:cubicBezTo>
                    <a:pt x="878763" y="733526"/>
                    <a:pt x="894450" y="742088"/>
                    <a:pt x="922973" y="738520"/>
                  </a:cubicBezTo>
                  <a:cubicBezTo>
                    <a:pt x="927965" y="737807"/>
                    <a:pt x="932243" y="739947"/>
                    <a:pt x="935809" y="742801"/>
                  </a:cubicBezTo>
                  <a:cubicBezTo>
                    <a:pt x="939374" y="746368"/>
                    <a:pt x="940800" y="750649"/>
                    <a:pt x="940800" y="755643"/>
                  </a:cubicBezTo>
                  <a:cubicBezTo>
                    <a:pt x="935809" y="817001"/>
                    <a:pt x="937948" y="876931"/>
                    <a:pt x="945079" y="887633"/>
                  </a:cubicBezTo>
                  <a:cubicBezTo>
                    <a:pt x="947218" y="889060"/>
                    <a:pt x="958627" y="894768"/>
                    <a:pt x="1008542" y="894768"/>
                  </a:cubicBezTo>
                  <a:cubicBezTo>
                    <a:pt x="1037778" y="894054"/>
                    <a:pt x="1064875" y="891914"/>
                    <a:pt x="1069866" y="891200"/>
                  </a:cubicBezTo>
                  <a:cubicBezTo>
                    <a:pt x="1074145" y="890487"/>
                    <a:pt x="1078423" y="891200"/>
                    <a:pt x="1081989" y="893341"/>
                  </a:cubicBezTo>
                  <a:cubicBezTo>
                    <a:pt x="1086267" y="896195"/>
                    <a:pt x="1089119" y="901189"/>
                    <a:pt x="1089119" y="906183"/>
                  </a:cubicBezTo>
                  <a:cubicBezTo>
                    <a:pt x="1089119" y="906183"/>
                    <a:pt x="1089119" y="906183"/>
                    <a:pt x="1089119" y="1027471"/>
                  </a:cubicBezTo>
                  <a:cubicBezTo>
                    <a:pt x="1118355" y="1026758"/>
                    <a:pt x="1184671" y="1023190"/>
                    <a:pt x="1239578" y="993225"/>
                  </a:cubicBezTo>
                  <a:cubicBezTo>
                    <a:pt x="1239578" y="993225"/>
                    <a:pt x="1239578" y="993225"/>
                    <a:pt x="1239578" y="939002"/>
                  </a:cubicBezTo>
                  <a:cubicBezTo>
                    <a:pt x="1239578" y="939002"/>
                    <a:pt x="1239578" y="938289"/>
                    <a:pt x="1239578" y="938289"/>
                  </a:cubicBezTo>
                  <a:cubicBezTo>
                    <a:pt x="1240291" y="939002"/>
                    <a:pt x="1241004" y="939002"/>
                    <a:pt x="1241717" y="939716"/>
                  </a:cubicBezTo>
                  <a:cubicBezTo>
                    <a:pt x="1245996" y="941856"/>
                    <a:pt x="1250987" y="942569"/>
                    <a:pt x="1256692" y="942569"/>
                  </a:cubicBezTo>
                  <a:cubicBezTo>
                    <a:pt x="1259544" y="942569"/>
                    <a:pt x="1263822" y="942569"/>
                    <a:pt x="1270953" y="940429"/>
                  </a:cubicBezTo>
                  <a:cubicBezTo>
                    <a:pt x="1270953" y="940429"/>
                    <a:pt x="1270953" y="940429"/>
                    <a:pt x="1270953" y="1002500"/>
                  </a:cubicBezTo>
                  <a:cubicBezTo>
                    <a:pt x="1270953" y="1008208"/>
                    <a:pt x="1268101" y="1013202"/>
                    <a:pt x="1263109" y="1016056"/>
                  </a:cubicBezTo>
                  <a:cubicBezTo>
                    <a:pt x="1199646" y="1054582"/>
                    <a:pt x="1121921" y="1058863"/>
                    <a:pt x="1088406" y="1058863"/>
                  </a:cubicBezTo>
                  <a:cubicBezTo>
                    <a:pt x="1079136" y="1058863"/>
                    <a:pt x="1073432" y="1058150"/>
                    <a:pt x="1072719" y="1058150"/>
                  </a:cubicBezTo>
                  <a:cubicBezTo>
                    <a:pt x="1064162" y="1057436"/>
                    <a:pt x="1057744" y="1051015"/>
                    <a:pt x="1057744" y="1042454"/>
                  </a:cubicBezTo>
                  <a:cubicBezTo>
                    <a:pt x="1057744" y="1042454"/>
                    <a:pt x="1057744" y="1042454"/>
                    <a:pt x="1057744" y="924020"/>
                  </a:cubicBezTo>
                  <a:cubicBezTo>
                    <a:pt x="1041343" y="925446"/>
                    <a:pt x="1019951" y="926160"/>
                    <a:pt x="1009968" y="926160"/>
                  </a:cubicBezTo>
                  <a:cubicBezTo>
                    <a:pt x="947218" y="926160"/>
                    <a:pt x="930817" y="917598"/>
                    <a:pt x="922973" y="909750"/>
                  </a:cubicBezTo>
                  <a:cubicBezTo>
                    <a:pt x="915129" y="901189"/>
                    <a:pt x="906573" y="884066"/>
                    <a:pt x="906573" y="819141"/>
                  </a:cubicBezTo>
                  <a:cubicBezTo>
                    <a:pt x="906573" y="800591"/>
                    <a:pt x="907286" y="783468"/>
                    <a:pt x="907999" y="770626"/>
                  </a:cubicBezTo>
                  <a:cubicBezTo>
                    <a:pt x="868067" y="769913"/>
                    <a:pt x="848814" y="750649"/>
                    <a:pt x="843822" y="739234"/>
                  </a:cubicBezTo>
                  <a:cubicBezTo>
                    <a:pt x="835978" y="720684"/>
                    <a:pt x="856657" y="693573"/>
                    <a:pt x="869493" y="680017"/>
                  </a:cubicBezTo>
                  <a:cubicBezTo>
                    <a:pt x="882328" y="667175"/>
                    <a:pt x="893737" y="647198"/>
                    <a:pt x="899442" y="632929"/>
                  </a:cubicBezTo>
                  <a:cubicBezTo>
                    <a:pt x="901581" y="627221"/>
                    <a:pt x="902294" y="603677"/>
                    <a:pt x="903007" y="589408"/>
                  </a:cubicBezTo>
                  <a:cubicBezTo>
                    <a:pt x="903007" y="580846"/>
                    <a:pt x="903007" y="572285"/>
                    <a:pt x="903720" y="565150"/>
                  </a:cubicBezTo>
                  <a:close/>
                  <a:moveTo>
                    <a:pt x="275370" y="357187"/>
                  </a:moveTo>
                  <a:cubicBezTo>
                    <a:pt x="283225" y="357187"/>
                    <a:pt x="290366" y="357901"/>
                    <a:pt x="298221" y="357901"/>
                  </a:cubicBezTo>
                  <a:cubicBezTo>
                    <a:pt x="458176" y="369325"/>
                    <a:pt x="515303" y="446433"/>
                    <a:pt x="514589" y="483559"/>
                  </a:cubicBezTo>
                  <a:cubicBezTo>
                    <a:pt x="514589" y="483559"/>
                    <a:pt x="514589" y="483559"/>
                    <a:pt x="514589" y="488557"/>
                  </a:cubicBezTo>
                  <a:cubicBezTo>
                    <a:pt x="513875" y="498552"/>
                    <a:pt x="511733" y="507834"/>
                    <a:pt x="507448" y="517116"/>
                  </a:cubicBezTo>
                  <a:cubicBezTo>
                    <a:pt x="503164" y="527111"/>
                    <a:pt x="497451" y="537107"/>
                    <a:pt x="489596" y="546388"/>
                  </a:cubicBezTo>
                  <a:cubicBezTo>
                    <a:pt x="487454" y="549244"/>
                    <a:pt x="485312" y="552100"/>
                    <a:pt x="483169" y="555670"/>
                  </a:cubicBezTo>
                  <a:cubicBezTo>
                    <a:pt x="452464" y="590654"/>
                    <a:pt x="376770" y="647772"/>
                    <a:pt x="333211" y="671332"/>
                  </a:cubicBezTo>
                  <a:cubicBezTo>
                    <a:pt x="333211" y="671332"/>
                    <a:pt x="332497" y="671332"/>
                    <a:pt x="331783" y="671332"/>
                  </a:cubicBezTo>
                  <a:cubicBezTo>
                    <a:pt x="328212" y="671332"/>
                    <a:pt x="326784" y="667049"/>
                    <a:pt x="329641" y="664193"/>
                  </a:cubicBezTo>
                  <a:cubicBezTo>
                    <a:pt x="343922" y="652769"/>
                    <a:pt x="353205" y="642774"/>
                    <a:pt x="359632" y="634206"/>
                  </a:cubicBezTo>
                  <a:cubicBezTo>
                    <a:pt x="300363" y="659195"/>
                    <a:pt x="243950" y="684898"/>
                    <a:pt x="210388" y="699177"/>
                  </a:cubicBezTo>
                  <a:cubicBezTo>
                    <a:pt x="166829" y="719168"/>
                    <a:pt x="139693" y="766290"/>
                    <a:pt x="145406" y="816268"/>
                  </a:cubicBezTo>
                  <a:cubicBezTo>
                    <a:pt x="151119" y="865531"/>
                    <a:pt x="178254" y="904085"/>
                    <a:pt x="163258" y="911225"/>
                  </a:cubicBezTo>
                  <a:cubicBezTo>
                    <a:pt x="163258" y="911225"/>
                    <a:pt x="162544" y="911225"/>
                    <a:pt x="161830" y="911225"/>
                  </a:cubicBezTo>
                  <a:cubicBezTo>
                    <a:pt x="136837" y="911225"/>
                    <a:pt x="-75247" y="708459"/>
                    <a:pt x="28296" y="499266"/>
                  </a:cubicBezTo>
                  <a:cubicBezTo>
                    <a:pt x="64000" y="427156"/>
                    <a:pt x="147548" y="357187"/>
                    <a:pt x="275370" y="357187"/>
                  </a:cubicBezTo>
                  <a:close/>
                  <a:moveTo>
                    <a:pt x="745473" y="0"/>
                  </a:moveTo>
                  <a:cubicBezTo>
                    <a:pt x="745473" y="0"/>
                    <a:pt x="745473" y="0"/>
                    <a:pt x="998793" y="0"/>
                  </a:cubicBezTo>
                  <a:cubicBezTo>
                    <a:pt x="1019545" y="0"/>
                    <a:pt x="1036003" y="16458"/>
                    <a:pt x="1036003" y="37211"/>
                  </a:cubicBezTo>
                  <a:cubicBezTo>
                    <a:pt x="1036003" y="37211"/>
                    <a:pt x="1036003" y="37211"/>
                    <a:pt x="1036003" y="197503"/>
                  </a:cubicBezTo>
                  <a:cubicBezTo>
                    <a:pt x="1036003" y="218255"/>
                    <a:pt x="1019545" y="234714"/>
                    <a:pt x="998793" y="234714"/>
                  </a:cubicBezTo>
                  <a:cubicBezTo>
                    <a:pt x="998793" y="234714"/>
                    <a:pt x="998793" y="234714"/>
                    <a:pt x="935105" y="234714"/>
                  </a:cubicBezTo>
                  <a:cubicBezTo>
                    <a:pt x="935105" y="234714"/>
                    <a:pt x="935105" y="234714"/>
                    <a:pt x="935105" y="320585"/>
                  </a:cubicBezTo>
                  <a:cubicBezTo>
                    <a:pt x="935105" y="320585"/>
                    <a:pt x="932958" y="327025"/>
                    <a:pt x="926518" y="327025"/>
                  </a:cubicBezTo>
                  <a:cubicBezTo>
                    <a:pt x="923655" y="327025"/>
                    <a:pt x="919362" y="325594"/>
                    <a:pt x="914353" y="320585"/>
                  </a:cubicBezTo>
                  <a:cubicBezTo>
                    <a:pt x="903619" y="309135"/>
                    <a:pt x="867124" y="266915"/>
                    <a:pt x="834922" y="234714"/>
                  </a:cubicBezTo>
                  <a:cubicBezTo>
                    <a:pt x="834922" y="234714"/>
                    <a:pt x="834922" y="234714"/>
                    <a:pt x="745473" y="234714"/>
                  </a:cubicBezTo>
                  <a:cubicBezTo>
                    <a:pt x="724721" y="234714"/>
                    <a:pt x="708978" y="218255"/>
                    <a:pt x="708978" y="197503"/>
                  </a:cubicBezTo>
                  <a:cubicBezTo>
                    <a:pt x="708978" y="197503"/>
                    <a:pt x="708978" y="197503"/>
                    <a:pt x="708978" y="196072"/>
                  </a:cubicBezTo>
                  <a:cubicBezTo>
                    <a:pt x="708978" y="190347"/>
                    <a:pt x="708978" y="163155"/>
                    <a:pt x="708978" y="37211"/>
                  </a:cubicBezTo>
                  <a:cubicBezTo>
                    <a:pt x="708978" y="21468"/>
                    <a:pt x="717565" y="9303"/>
                    <a:pt x="729730" y="3578"/>
                  </a:cubicBezTo>
                  <a:cubicBezTo>
                    <a:pt x="731877" y="2862"/>
                    <a:pt x="733308" y="2147"/>
                    <a:pt x="734740" y="1431"/>
                  </a:cubicBezTo>
                  <a:cubicBezTo>
                    <a:pt x="738317" y="715"/>
                    <a:pt x="741895" y="0"/>
                    <a:pt x="745473"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4" name="Freeform 15">
              <a:extLst>
                <a:ext uri="{FF2B5EF4-FFF2-40B4-BE49-F238E27FC236}">
                  <a16:creationId xmlns:a16="http://schemas.microsoft.com/office/drawing/2014/main" id="{AB2E0107-4C26-1CFB-3725-642101740DEC}"/>
                </a:ext>
              </a:extLst>
            </p:cNvPr>
            <p:cNvSpPr>
              <a:spLocks/>
            </p:cNvSpPr>
            <p:nvPr/>
          </p:nvSpPr>
          <p:spPr bwMode="ltGray">
            <a:xfrm>
              <a:off x="5534025" y="2882899"/>
              <a:ext cx="1270953" cy="1095376"/>
            </a:xfrm>
            <a:custGeom>
              <a:avLst/>
              <a:gdLst>
                <a:gd name="connsiteX0" fmla="*/ 367233 w 1270953"/>
                <a:gd name="connsiteY0" fmla="*/ 601663 h 1095376"/>
                <a:gd name="connsiteX1" fmla="*/ 367946 w 1270953"/>
                <a:gd name="connsiteY1" fmla="*/ 625921 h 1095376"/>
                <a:gd name="connsiteX2" fmla="*/ 371512 w 1270953"/>
                <a:gd name="connsiteY2" fmla="*/ 669442 h 1095376"/>
                <a:gd name="connsiteX3" fmla="*/ 401461 w 1270953"/>
                <a:gd name="connsiteY3" fmla="*/ 716530 h 1095376"/>
                <a:gd name="connsiteX4" fmla="*/ 427131 w 1270953"/>
                <a:gd name="connsiteY4" fmla="*/ 775747 h 1095376"/>
                <a:gd name="connsiteX5" fmla="*/ 362955 w 1270953"/>
                <a:gd name="connsiteY5" fmla="*/ 807139 h 1095376"/>
                <a:gd name="connsiteX6" fmla="*/ 364381 w 1270953"/>
                <a:gd name="connsiteY6" fmla="*/ 855654 h 1095376"/>
                <a:gd name="connsiteX7" fmla="*/ 347980 w 1270953"/>
                <a:gd name="connsiteY7" fmla="*/ 946263 h 1095376"/>
                <a:gd name="connsiteX8" fmla="*/ 260985 w 1270953"/>
                <a:gd name="connsiteY8" fmla="*/ 962673 h 1095376"/>
                <a:gd name="connsiteX9" fmla="*/ 213209 w 1270953"/>
                <a:gd name="connsiteY9" fmla="*/ 960533 h 1095376"/>
                <a:gd name="connsiteX10" fmla="*/ 213209 w 1270953"/>
                <a:gd name="connsiteY10" fmla="*/ 1078967 h 1095376"/>
                <a:gd name="connsiteX11" fmla="*/ 198235 w 1270953"/>
                <a:gd name="connsiteY11" fmla="*/ 1094663 h 1095376"/>
                <a:gd name="connsiteX12" fmla="*/ 182547 w 1270953"/>
                <a:gd name="connsiteY12" fmla="*/ 1095376 h 1095376"/>
                <a:gd name="connsiteX13" fmla="*/ 7844 w 1270953"/>
                <a:gd name="connsiteY13" fmla="*/ 1052569 h 1095376"/>
                <a:gd name="connsiteX14" fmla="*/ 0 w 1270953"/>
                <a:gd name="connsiteY14" fmla="*/ 1039013 h 1095376"/>
                <a:gd name="connsiteX15" fmla="*/ 0 w 1270953"/>
                <a:gd name="connsiteY15" fmla="*/ 976942 h 1095376"/>
                <a:gd name="connsiteX16" fmla="*/ 14262 w 1270953"/>
                <a:gd name="connsiteY16" fmla="*/ 979082 h 1095376"/>
                <a:gd name="connsiteX17" fmla="*/ 29236 w 1270953"/>
                <a:gd name="connsiteY17" fmla="*/ 976229 h 1095376"/>
                <a:gd name="connsiteX18" fmla="*/ 31375 w 1270953"/>
                <a:gd name="connsiteY18" fmla="*/ 974802 h 1095376"/>
                <a:gd name="connsiteX19" fmla="*/ 31375 w 1270953"/>
                <a:gd name="connsiteY19" fmla="*/ 975515 h 1095376"/>
                <a:gd name="connsiteX20" fmla="*/ 31375 w 1270953"/>
                <a:gd name="connsiteY20" fmla="*/ 1029738 h 1095376"/>
                <a:gd name="connsiteX21" fmla="*/ 181834 w 1270953"/>
                <a:gd name="connsiteY21" fmla="*/ 1063984 h 1095376"/>
                <a:gd name="connsiteX22" fmla="*/ 181834 w 1270953"/>
                <a:gd name="connsiteY22" fmla="*/ 942696 h 1095376"/>
                <a:gd name="connsiteX23" fmla="*/ 188965 w 1270953"/>
                <a:gd name="connsiteY23" fmla="*/ 929854 h 1095376"/>
                <a:gd name="connsiteX24" fmla="*/ 201087 w 1270953"/>
                <a:gd name="connsiteY24" fmla="*/ 927713 h 1095376"/>
                <a:gd name="connsiteX25" fmla="*/ 262411 w 1270953"/>
                <a:gd name="connsiteY25" fmla="*/ 931281 h 1095376"/>
                <a:gd name="connsiteX26" fmla="*/ 325875 w 1270953"/>
                <a:gd name="connsiteY26" fmla="*/ 924146 h 1095376"/>
                <a:gd name="connsiteX27" fmla="*/ 330153 w 1270953"/>
                <a:gd name="connsiteY27" fmla="*/ 792156 h 1095376"/>
                <a:gd name="connsiteX28" fmla="*/ 335145 w 1270953"/>
                <a:gd name="connsiteY28" fmla="*/ 779314 h 1095376"/>
                <a:gd name="connsiteX29" fmla="*/ 347980 w 1270953"/>
                <a:gd name="connsiteY29" fmla="*/ 775033 h 1095376"/>
                <a:gd name="connsiteX30" fmla="*/ 397182 w 1270953"/>
                <a:gd name="connsiteY30" fmla="*/ 764332 h 1095376"/>
                <a:gd name="connsiteX31" fmla="*/ 379355 w 1270953"/>
                <a:gd name="connsiteY31" fmla="*/ 738647 h 1095376"/>
                <a:gd name="connsiteX32" fmla="*/ 342276 w 1270953"/>
                <a:gd name="connsiteY32" fmla="*/ 680857 h 1095376"/>
                <a:gd name="connsiteX33" fmla="*/ 337284 w 1270953"/>
                <a:gd name="connsiteY33" fmla="*/ 635196 h 1095376"/>
                <a:gd name="connsiteX34" fmla="*/ 366520 w 1270953"/>
                <a:gd name="connsiteY34" fmla="*/ 602377 h 1095376"/>
                <a:gd name="connsiteX35" fmla="*/ 367233 w 1270953"/>
                <a:gd name="connsiteY35" fmla="*/ 601663 h 1095376"/>
                <a:gd name="connsiteX36" fmla="*/ 995583 w 1270953"/>
                <a:gd name="connsiteY36" fmla="*/ 393700 h 1095376"/>
                <a:gd name="connsiteX37" fmla="*/ 1242658 w 1270953"/>
                <a:gd name="connsiteY37" fmla="*/ 535779 h 1095376"/>
                <a:gd name="connsiteX38" fmla="*/ 1109123 w 1270953"/>
                <a:gd name="connsiteY38" fmla="*/ 947738 h 1095376"/>
                <a:gd name="connsiteX39" fmla="*/ 1107695 w 1270953"/>
                <a:gd name="connsiteY39" fmla="*/ 947738 h 1095376"/>
                <a:gd name="connsiteX40" fmla="*/ 1125547 w 1270953"/>
                <a:gd name="connsiteY40" fmla="*/ 852781 h 1095376"/>
                <a:gd name="connsiteX41" fmla="*/ 1060565 w 1270953"/>
                <a:gd name="connsiteY41" fmla="*/ 735690 h 1095376"/>
                <a:gd name="connsiteX42" fmla="*/ 911321 w 1270953"/>
                <a:gd name="connsiteY42" fmla="*/ 670719 h 1095376"/>
                <a:gd name="connsiteX43" fmla="*/ 941313 w 1270953"/>
                <a:gd name="connsiteY43" fmla="*/ 700706 h 1095376"/>
                <a:gd name="connsiteX44" fmla="*/ 939171 w 1270953"/>
                <a:gd name="connsiteY44" fmla="*/ 707845 h 1095376"/>
                <a:gd name="connsiteX45" fmla="*/ 937742 w 1270953"/>
                <a:gd name="connsiteY45" fmla="*/ 707845 h 1095376"/>
                <a:gd name="connsiteX46" fmla="*/ 787784 w 1270953"/>
                <a:gd name="connsiteY46" fmla="*/ 592183 h 1095376"/>
                <a:gd name="connsiteX47" fmla="*/ 781357 w 1270953"/>
                <a:gd name="connsiteY47" fmla="*/ 582901 h 1095376"/>
                <a:gd name="connsiteX48" fmla="*/ 763505 w 1270953"/>
                <a:gd name="connsiteY48" fmla="*/ 553628 h 1095376"/>
                <a:gd name="connsiteX49" fmla="*/ 756364 w 1270953"/>
                <a:gd name="connsiteY49" fmla="*/ 525070 h 1095376"/>
                <a:gd name="connsiteX50" fmla="*/ 756364 w 1270953"/>
                <a:gd name="connsiteY50" fmla="*/ 520072 h 1095376"/>
                <a:gd name="connsiteX51" fmla="*/ 972733 w 1270953"/>
                <a:gd name="connsiteY51" fmla="*/ 394414 h 1095376"/>
                <a:gd name="connsiteX52" fmla="*/ 995583 w 1270953"/>
                <a:gd name="connsiteY52" fmla="*/ 393700 h 1095376"/>
                <a:gd name="connsiteX53" fmla="*/ 299002 w 1270953"/>
                <a:gd name="connsiteY53" fmla="*/ 0 h 1095376"/>
                <a:gd name="connsiteX54" fmla="*/ 551317 w 1270953"/>
                <a:gd name="connsiteY54" fmla="*/ 0 h 1095376"/>
                <a:gd name="connsiteX55" fmla="*/ 566997 w 1270953"/>
                <a:gd name="connsiteY55" fmla="*/ 3578 h 1095376"/>
                <a:gd name="connsiteX56" fmla="*/ 576263 w 1270953"/>
                <a:gd name="connsiteY56" fmla="*/ 9303 h 1095376"/>
                <a:gd name="connsiteX57" fmla="*/ 570561 w 1270953"/>
                <a:gd name="connsiteY57" fmla="*/ 11449 h 1095376"/>
                <a:gd name="connsiteX58" fmla="*/ 530647 w 1270953"/>
                <a:gd name="connsiteY58" fmla="*/ 74421 h 1095376"/>
                <a:gd name="connsiteX59" fmla="*/ 530647 w 1270953"/>
                <a:gd name="connsiteY59" fmla="*/ 234714 h 1095376"/>
                <a:gd name="connsiteX60" fmla="*/ 462222 w 1270953"/>
                <a:gd name="connsiteY60" fmla="*/ 234714 h 1095376"/>
                <a:gd name="connsiteX61" fmla="*/ 383107 w 1270953"/>
                <a:gd name="connsiteY61" fmla="*/ 319869 h 1095376"/>
                <a:gd name="connsiteX62" fmla="*/ 370990 w 1270953"/>
                <a:gd name="connsiteY62" fmla="*/ 327025 h 1095376"/>
                <a:gd name="connsiteX63" fmla="*/ 362437 w 1270953"/>
                <a:gd name="connsiteY63" fmla="*/ 319869 h 1095376"/>
                <a:gd name="connsiteX64" fmla="*/ 362437 w 1270953"/>
                <a:gd name="connsiteY64" fmla="*/ 234714 h 1095376"/>
                <a:gd name="connsiteX65" fmla="*/ 299002 w 1270953"/>
                <a:gd name="connsiteY65" fmla="*/ 234714 h 1095376"/>
                <a:gd name="connsiteX66" fmla="*/ 261938 w 1270953"/>
                <a:gd name="connsiteY66" fmla="*/ 197503 h 1095376"/>
                <a:gd name="connsiteX67" fmla="*/ 261938 w 1270953"/>
                <a:gd name="connsiteY67" fmla="*/ 37211 h 1095376"/>
                <a:gd name="connsiteX68" fmla="*/ 299002 w 1270953"/>
                <a:gd name="connsiteY68" fmla="*/ 0 h 109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70953" h="1095376">
                  <a:moveTo>
                    <a:pt x="367233" y="601663"/>
                  </a:moveTo>
                  <a:cubicBezTo>
                    <a:pt x="367946" y="608798"/>
                    <a:pt x="367946" y="617359"/>
                    <a:pt x="367946" y="625921"/>
                  </a:cubicBezTo>
                  <a:cubicBezTo>
                    <a:pt x="368659" y="640190"/>
                    <a:pt x="369372" y="663734"/>
                    <a:pt x="371512" y="669442"/>
                  </a:cubicBezTo>
                  <a:cubicBezTo>
                    <a:pt x="377216" y="683711"/>
                    <a:pt x="388625" y="703688"/>
                    <a:pt x="401461" y="716530"/>
                  </a:cubicBezTo>
                  <a:cubicBezTo>
                    <a:pt x="414296" y="730086"/>
                    <a:pt x="434975" y="757197"/>
                    <a:pt x="427131" y="775747"/>
                  </a:cubicBezTo>
                  <a:cubicBezTo>
                    <a:pt x="422140" y="787162"/>
                    <a:pt x="402887" y="806426"/>
                    <a:pt x="362955" y="807139"/>
                  </a:cubicBezTo>
                  <a:cubicBezTo>
                    <a:pt x="363668" y="819981"/>
                    <a:pt x="364381" y="837104"/>
                    <a:pt x="364381" y="855654"/>
                  </a:cubicBezTo>
                  <a:cubicBezTo>
                    <a:pt x="364381" y="920579"/>
                    <a:pt x="355824" y="937702"/>
                    <a:pt x="347980" y="946263"/>
                  </a:cubicBezTo>
                  <a:cubicBezTo>
                    <a:pt x="340136" y="954111"/>
                    <a:pt x="323736" y="963386"/>
                    <a:pt x="260985" y="962673"/>
                  </a:cubicBezTo>
                  <a:cubicBezTo>
                    <a:pt x="251002" y="962673"/>
                    <a:pt x="229610" y="961959"/>
                    <a:pt x="213209" y="960533"/>
                  </a:cubicBezTo>
                  <a:cubicBezTo>
                    <a:pt x="213209" y="960533"/>
                    <a:pt x="213209" y="960533"/>
                    <a:pt x="213209" y="1078967"/>
                  </a:cubicBezTo>
                  <a:cubicBezTo>
                    <a:pt x="213209" y="1087528"/>
                    <a:pt x="206792" y="1093949"/>
                    <a:pt x="198235" y="1094663"/>
                  </a:cubicBezTo>
                  <a:cubicBezTo>
                    <a:pt x="197522" y="1094663"/>
                    <a:pt x="191817" y="1095376"/>
                    <a:pt x="182547" y="1095376"/>
                  </a:cubicBezTo>
                  <a:cubicBezTo>
                    <a:pt x="149033" y="1095376"/>
                    <a:pt x="71308" y="1091095"/>
                    <a:pt x="7844" y="1052569"/>
                  </a:cubicBezTo>
                  <a:cubicBezTo>
                    <a:pt x="2853" y="1049715"/>
                    <a:pt x="0" y="1044721"/>
                    <a:pt x="0" y="1039013"/>
                  </a:cubicBezTo>
                  <a:cubicBezTo>
                    <a:pt x="0" y="1039013"/>
                    <a:pt x="0" y="1039013"/>
                    <a:pt x="0" y="976942"/>
                  </a:cubicBezTo>
                  <a:cubicBezTo>
                    <a:pt x="7131" y="979082"/>
                    <a:pt x="11409" y="979082"/>
                    <a:pt x="14262" y="979082"/>
                  </a:cubicBezTo>
                  <a:cubicBezTo>
                    <a:pt x="19966" y="979082"/>
                    <a:pt x="24958" y="978369"/>
                    <a:pt x="29236" y="976229"/>
                  </a:cubicBezTo>
                  <a:cubicBezTo>
                    <a:pt x="29949" y="975515"/>
                    <a:pt x="30662" y="975515"/>
                    <a:pt x="31375" y="974802"/>
                  </a:cubicBezTo>
                  <a:cubicBezTo>
                    <a:pt x="31375" y="974802"/>
                    <a:pt x="31375" y="975515"/>
                    <a:pt x="31375" y="975515"/>
                  </a:cubicBezTo>
                  <a:cubicBezTo>
                    <a:pt x="31375" y="975515"/>
                    <a:pt x="31375" y="975515"/>
                    <a:pt x="31375" y="1029738"/>
                  </a:cubicBezTo>
                  <a:cubicBezTo>
                    <a:pt x="86282" y="1059703"/>
                    <a:pt x="152598" y="1063984"/>
                    <a:pt x="181834" y="1063984"/>
                  </a:cubicBezTo>
                  <a:cubicBezTo>
                    <a:pt x="181834" y="1063984"/>
                    <a:pt x="181834" y="1063984"/>
                    <a:pt x="181834" y="942696"/>
                  </a:cubicBezTo>
                  <a:cubicBezTo>
                    <a:pt x="181834" y="937702"/>
                    <a:pt x="184686" y="932708"/>
                    <a:pt x="188965" y="929854"/>
                  </a:cubicBezTo>
                  <a:cubicBezTo>
                    <a:pt x="192530" y="927713"/>
                    <a:pt x="196809" y="927000"/>
                    <a:pt x="201087" y="927713"/>
                  </a:cubicBezTo>
                  <a:cubicBezTo>
                    <a:pt x="206079" y="928427"/>
                    <a:pt x="233175" y="930567"/>
                    <a:pt x="262411" y="931281"/>
                  </a:cubicBezTo>
                  <a:cubicBezTo>
                    <a:pt x="312327" y="931281"/>
                    <a:pt x="323736" y="925573"/>
                    <a:pt x="325875" y="924146"/>
                  </a:cubicBezTo>
                  <a:cubicBezTo>
                    <a:pt x="333719" y="912731"/>
                    <a:pt x="334432" y="846379"/>
                    <a:pt x="330153" y="792156"/>
                  </a:cubicBezTo>
                  <a:cubicBezTo>
                    <a:pt x="330153" y="787162"/>
                    <a:pt x="331580" y="782881"/>
                    <a:pt x="335145" y="779314"/>
                  </a:cubicBezTo>
                  <a:cubicBezTo>
                    <a:pt x="338710" y="776460"/>
                    <a:pt x="342989" y="774320"/>
                    <a:pt x="347980" y="775033"/>
                  </a:cubicBezTo>
                  <a:cubicBezTo>
                    <a:pt x="376503" y="778601"/>
                    <a:pt x="392191" y="770039"/>
                    <a:pt x="397182" y="764332"/>
                  </a:cubicBezTo>
                  <a:cubicBezTo>
                    <a:pt x="395043" y="759337"/>
                    <a:pt x="389339" y="749349"/>
                    <a:pt x="379355" y="738647"/>
                  </a:cubicBezTo>
                  <a:cubicBezTo>
                    <a:pt x="358676" y="718670"/>
                    <a:pt x="345841" y="689418"/>
                    <a:pt x="342276" y="680857"/>
                  </a:cubicBezTo>
                  <a:cubicBezTo>
                    <a:pt x="338710" y="672295"/>
                    <a:pt x="337997" y="657313"/>
                    <a:pt x="337284" y="635196"/>
                  </a:cubicBezTo>
                  <a:cubicBezTo>
                    <a:pt x="349406" y="623067"/>
                    <a:pt x="359389" y="612365"/>
                    <a:pt x="366520" y="602377"/>
                  </a:cubicBezTo>
                  <a:cubicBezTo>
                    <a:pt x="366520" y="602377"/>
                    <a:pt x="367233" y="601663"/>
                    <a:pt x="367233" y="601663"/>
                  </a:cubicBezTo>
                  <a:close/>
                  <a:moveTo>
                    <a:pt x="995583" y="393700"/>
                  </a:moveTo>
                  <a:cubicBezTo>
                    <a:pt x="1123405" y="393700"/>
                    <a:pt x="1206953" y="463669"/>
                    <a:pt x="1242658" y="535779"/>
                  </a:cubicBezTo>
                  <a:cubicBezTo>
                    <a:pt x="1346200" y="744972"/>
                    <a:pt x="1134116" y="947738"/>
                    <a:pt x="1109123" y="947738"/>
                  </a:cubicBezTo>
                  <a:cubicBezTo>
                    <a:pt x="1108409" y="947738"/>
                    <a:pt x="1107695" y="947738"/>
                    <a:pt x="1107695" y="947738"/>
                  </a:cubicBezTo>
                  <a:cubicBezTo>
                    <a:pt x="1092699" y="940598"/>
                    <a:pt x="1119835" y="902044"/>
                    <a:pt x="1125547" y="852781"/>
                  </a:cubicBezTo>
                  <a:cubicBezTo>
                    <a:pt x="1131260" y="802803"/>
                    <a:pt x="1104125" y="755681"/>
                    <a:pt x="1060565" y="735690"/>
                  </a:cubicBezTo>
                  <a:cubicBezTo>
                    <a:pt x="1027003" y="721411"/>
                    <a:pt x="970590" y="695708"/>
                    <a:pt x="911321" y="670719"/>
                  </a:cubicBezTo>
                  <a:cubicBezTo>
                    <a:pt x="917748" y="679287"/>
                    <a:pt x="927031" y="689282"/>
                    <a:pt x="941313" y="700706"/>
                  </a:cubicBezTo>
                  <a:cubicBezTo>
                    <a:pt x="944169" y="703562"/>
                    <a:pt x="942741" y="707845"/>
                    <a:pt x="939171" y="707845"/>
                  </a:cubicBezTo>
                  <a:cubicBezTo>
                    <a:pt x="938457" y="707845"/>
                    <a:pt x="937742" y="707845"/>
                    <a:pt x="937742" y="707845"/>
                  </a:cubicBezTo>
                  <a:cubicBezTo>
                    <a:pt x="894183" y="684285"/>
                    <a:pt x="818490" y="627167"/>
                    <a:pt x="787784" y="592183"/>
                  </a:cubicBezTo>
                  <a:cubicBezTo>
                    <a:pt x="785642" y="588613"/>
                    <a:pt x="783500" y="585757"/>
                    <a:pt x="781357" y="582901"/>
                  </a:cubicBezTo>
                  <a:cubicBezTo>
                    <a:pt x="773502" y="573619"/>
                    <a:pt x="767790" y="563624"/>
                    <a:pt x="763505" y="553628"/>
                  </a:cubicBezTo>
                  <a:cubicBezTo>
                    <a:pt x="759221" y="544347"/>
                    <a:pt x="757078" y="535065"/>
                    <a:pt x="756364" y="525070"/>
                  </a:cubicBezTo>
                  <a:cubicBezTo>
                    <a:pt x="756364" y="525070"/>
                    <a:pt x="756364" y="525070"/>
                    <a:pt x="756364" y="520072"/>
                  </a:cubicBezTo>
                  <a:cubicBezTo>
                    <a:pt x="755650" y="482946"/>
                    <a:pt x="812777" y="405837"/>
                    <a:pt x="972733" y="394414"/>
                  </a:cubicBezTo>
                  <a:cubicBezTo>
                    <a:pt x="980588" y="394414"/>
                    <a:pt x="987729" y="393700"/>
                    <a:pt x="995583" y="393700"/>
                  </a:cubicBezTo>
                  <a:close/>
                  <a:moveTo>
                    <a:pt x="299002" y="0"/>
                  </a:moveTo>
                  <a:cubicBezTo>
                    <a:pt x="551317" y="0"/>
                    <a:pt x="551317" y="0"/>
                    <a:pt x="551317" y="0"/>
                  </a:cubicBezTo>
                  <a:cubicBezTo>
                    <a:pt x="557019" y="0"/>
                    <a:pt x="562008" y="1431"/>
                    <a:pt x="566997" y="3578"/>
                  </a:cubicBezTo>
                  <a:cubicBezTo>
                    <a:pt x="569848" y="5009"/>
                    <a:pt x="573412" y="7156"/>
                    <a:pt x="576263" y="9303"/>
                  </a:cubicBezTo>
                  <a:cubicBezTo>
                    <a:pt x="574125" y="10018"/>
                    <a:pt x="571987" y="10734"/>
                    <a:pt x="570561" y="11449"/>
                  </a:cubicBezTo>
                  <a:cubicBezTo>
                    <a:pt x="545615" y="22183"/>
                    <a:pt x="530647" y="46513"/>
                    <a:pt x="530647" y="74421"/>
                  </a:cubicBezTo>
                  <a:cubicBezTo>
                    <a:pt x="530647" y="74421"/>
                    <a:pt x="530647" y="74421"/>
                    <a:pt x="530647" y="234714"/>
                  </a:cubicBezTo>
                  <a:cubicBezTo>
                    <a:pt x="462222" y="234714"/>
                    <a:pt x="462222" y="234714"/>
                    <a:pt x="462222" y="234714"/>
                  </a:cubicBezTo>
                  <a:cubicBezTo>
                    <a:pt x="430148" y="266915"/>
                    <a:pt x="393798" y="309135"/>
                    <a:pt x="383107" y="319869"/>
                  </a:cubicBezTo>
                  <a:cubicBezTo>
                    <a:pt x="378117" y="324878"/>
                    <a:pt x="373841" y="327025"/>
                    <a:pt x="370990" y="327025"/>
                  </a:cubicBezTo>
                  <a:cubicBezTo>
                    <a:pt x="364575" y="327025"/>
                    <a:pt x="362437" y="319869"/>
                    <a:pt x="362437" y="319869"/>
                  </a:cubicBezTo>
                  <a:cubicBezTo>
                    <a:pt x="362437" y="234714"/>
                    <a:pt x="362437" y="234714"/>
                    <a:pt x="362437" y="234714"/>
                  </a:cubicBezTo>
                  <a:cubicBezTo>
                    <a:pt x="299002" y="234714"/>
                    <a:pt x="299002" y="234714"/>
                    <a:pt x="299002" y="234714"/>
                  </a:cubicBezTo>
                  <a:cubicBezTo>
                    <a:pt x="278332" y="234714"/>
                    <a:pt x="261938" y="218255"/>
                    <a:pt x="261938" y="197503"/>
                  </a:cubicBezTo>
                  <a:cubicBezTo>
                    <a:pt x="261938" y="37211"/>
                    <a:pt x="261938" y="37211"/>
                    <a:pt x="261938" y="37211"/>
                  </a:cubicBezTo>
                  <a:cubicBezTo>
                    <a:pt x="261938" y="16458"/>
                    <a:pt x="278332" y="0"/>
                    <a:pt x="299002"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58" name="Oval 57">
            <a:extLst>
              <a:ext uri="{FF2B5EF4-FFF2-40B4-BE49-F238E27FC236}">
                <a16:creationId xmlns:a16="http://schemas.microsoft.com/office/drawing/2014/main" id="{6AA87E8D-3A41-3795-8CAF-68EFC2283F52}"/>
              </a:ext>
            </a:extLst>
          </p:cNvPr>
          <p:cNvSpPr/>
          <p:nvPr>
            <p:custDataLst>
              <p:tags r:id="rId9"/>
            </p:custDataLst>
          </p:nvPr>
        </p:nvSpPr>
        <p:spPr bwMode="gray">
          <a:xfrm>
            <a:off x="5401071"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2" name="Graphic 91">
            <a:extLst>
              <a:ext uri="{FF2B5EF4-FFF2-40B4-BE49-F238E27FC236}">
                <a16:creationId xmlns:a16="http://schemas.microsoft.com/office/drawing/2014/main" id="{ADB808C1-4E6C-78B1-AEDC-DD0C2AB03C8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blackGray">
          <a:xfrm>
            <a:off x="5496226" y="1463922"/>
            <a:ext cx="1199549" cy="1197533"/>
          </a:xfrm>
          <a:prstGeom prst="rect">
            <a:avLst/>
          </a:prstGeom>
        </p:spPr>
      </p:pic>
      <p:sp>
        <p:nvSpPr>
          <p:cNvPr id="67" name="Oval 66">
            <a:extLst>
              <a:ext uri="{FF2B5EF4-FFF2-40B4-BE49-F238E27FC236}">
                <a16:creationId xmlns:a16="http://schemas.microsoft.com/office/drawing/2014/main" id="{11DF90C0-7E27-6644-2A23-8EF5B2DDCAB1}"/>
              </a:ext>
            </a:extLst>
          </p:cNvPr>
          <p:cNvSpPr/>
          <p:nvPr>
            <p:custDataLst>
              <p:tags r:id="rId10"/>
            </p:custDataLst>
          </p:nvPr>
        </p:nvSpPr>
        <p:spPr bwMode="gray">
          <a:xfrm>
            <a:off x="1567889"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4" name="Graphic 93">
            <a:extLst>
              <a:ext uri="{FF2B5EF4-FFF2-40B4-BE49-F238E27FC236}">
                <a16:creationId xmlns:a16="http://schemas.microsoft.com/office/drawing/2014/main" id="{BE918F09-76E3-7C43-0F26-CE8F3F3B6BE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bwMode="grayWhite">
          <a:xfrm>
            <a:off x="1635672" y="1435544"/>
            <a:ext cx="1254291" cy="1254291"/>
          </a:xfrm>
          <a:prstGeom prst="rect">
            <a:avLst/>
          </a:prstGeom>
        </p:spPr>
      </p:pic>
      <p:sp>
        <p:nvSpPr>
          <p:cNvPr id="11" name="Freeform: Shape 10">
            <a:extLst>
              <a:ext uri="{FF2B5EF4-FFF2-40B4-BE49-F238E27FC236}">
                <a16:creationId xmlns:a16="http://schemas.microsoft.com/office/drawing/2014/main" id="{B5B695AD-B071-4F46-A029-858B2668B40C}"/>
              </a:ext>
            </a:extLst>
          </p:cNvPr>
          <p:cNvSpPr/>
          <p:nvPr/>
        </p:nvSpPr>
        <p:spPr>
          <a:xfrm>
            <a:off x="8398341" y="4759934"/>
            <a:ext cx="3061682" cy="1161467"/>
          </a:xfrm>
          <a:custGeom>
            <a:avLst/>
            <a:gdLst>
              <a:gd name="connsiteX0" fmla="*/ 1696331 w 3392661"/>
              <a:gd name="connsiteY0" fmla="*/ 0 h 1161467"/>
              <a:gd name="connsiteX1" fmla="*/ 1830256 w 3392661"/>
              <a:gd name="connsiteY1" fmla="*/ 205633 h 1161467"/>
              <a:gd name="connsiteX2" fmla="*/ 3320658 w 3392661"/>
              <a:gd name="connsiteY2" fmla="*/ 205633 h 1161467"/>
              <a:gd name="connsiteX3" fmla="*/ 3392661 w 3392661"/>
              <a:gd name="connsiteY3" fmla="*/ 277636 h 1161467"/>
              <a:gd name="connsiteX4" fmla="*/ 3392661 w 3392661"/>
              <a:gd name="connsiteY4" fmla="*/ 1089464 h 1161467"/>
              <a:gd name="connsiteX5" fmla="*/ 3320658 w 3392661"/>
              <a:gd name="connsiteY5" fmla="*/ 1161467 h 1161467"/>
              <a:gd name="connsiteX6" fmla="*/ 72003 w 3392661"/>
              <a:gd name="connsiteY6" fmla="*/ 1161467 h 1161467"/>
              <a:gd name="connsiteX7" fmla="*/ 0 w 3392661"/>
              <a:gd name="connsiteY7" fmla="*/ 1089464 h 1161467"/>
              <a:gd name="connsiteX8" fmla="*/ 0 w 3392661"/>
              <a:gd name="connsiteY8" fmla="*/ 277636 h 1161467"/>
              <a:gd name="connsiteX9" fmla="*/ 72003 w 3392661"/>
              <a:gd name="connsiteY9" fmla="*/ 205633 h 1161467"/>
              <a:gd name="connsiteX10" fmla="*/ 1562406 w 3392661"/>
              <a:gd name="connsiteY10" fmla="*/ 205633 h 116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2661" h="1161467">
                <a:moveTo>
                  <a:pt x="1696331" y="0"/>
                </a:moveTo>
                <a:lnTo>
                  <a:pt x="1830256" y="205633"/>
                </a:lnTo>
                <a:lnTo>
                  <a:pt x="3320658" y="205633"/>
                </a:lnTo>
                <a:cubicBezTo>
                  <a:pt x="3360424" y="205633"/>
                  <a:pt x="3392661" y="237870"/>
                  <a:pt x="3392661" y="277636"/>
                </a:cubicBezTo>
                <a:lnTo>
                  <a:pt x="3392661" y="1089464"/>
                </a:lnTo>
                <a:cubicBezTo>
                  <a:pt x="3392661" y="1129230"/>
                  <a:pt x="3360424" y="1161467"/>
                  <a:pt x="3320658" y="1161467"/>
                </a:cubicBezTo>
                <a:lnTo>
                  <a:pt x="72003" y="1161467"/>
                </a:lnTo>
                <a:cubicBezTo>
                  <a:pt x="32237" y="1161467"/>
                  <a:pt x="0" y="1129230"/>
                  <a:pt x="0" y="1089464"/>
                </a:cubicBezTo>
                <a:lnTo>
                  <a:pt x="0" y="277636"/>
                </a:lnTo>
                <a:cubicBezTo>
                  <a:pt x="0" y="237870"/>
                  <a:pt x="32237" y="205633"/>
                  <a:pt x="72003" y="205633"/>
                </a:cubicBezTo>
                <a:lnTo>
                  <a:pt x="1562406" y="205633"/>
                </a:lnTo>
                <a:close/>
              </a:path>
            </a:pathLst>
          </a:custGeom>
          <a:solidFill>
            <a:srgbClr val="FFD18D"/>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en-US">
              <a:latin typeface="BIZ UDPゴシック" panose="020B0400000000000000" pitchFamily="50" charset="-128"/>
              <a:ea typeface="BIZ UDPゴシック" panose="020B0400000000000000" pitchFamily="50" charset="-128"/>
            </a:endParaRPr>
          </a:p>
        </p:txBody>
      </p:sp>
      <p:sp>
        <p:nvSpPr>
          <p:cNvPr id="79" name="Textfeld 1">
            <a:extLst>
              <a:ext uri="{FF2B5EF4-FFF2-40B4-BE49-F238E27FC236}">
                <a16:creationId xmlns:a16="http://schemas.microsoft.com/office/drawing/2014/main" id="{60FB2C89-7BB0-2B03-1703-442E655D6EFF}"/>
              </a:ext>
            </a:extLst>
          </p:cNvPr>
          <p:cNvSpPr txBox="1"/>
          <p:nvPr>
            <p:custDataLst>
              <p:tags r:id="rId11"/>
            </p:custDataLst>
          </p:nvPr>
        </p:nvSpPr>
        <p:spPr>
          <a:xfrm>
            <a:off x="8467131" y="4965567"/>
            <a:ext cx="2924099" cy="955834"/>
          </a:xfrm>
          <a:prstGeom prst="roundRect">
            <a:avLst>
              <a:gd name="adj" fmla="val 7533"/>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defPPr>
              <a:defRPr lang="en-US"/>
            </a:defPPr>
            <a:lvl1pPr defTabSz="914385">
              <a:lnSpc>
                <a:spcPct val="120000"/>
              </a:lnSpc>
              <a:spcBef>
                <a:spcPts val="1200"/>
              </a:spcBef>
              <a:defRPr kumimoji="1" sz="2000" spc="33">
                <a:solidFill>
                  <a:srgbClr val="3C3C3C"/>
                </a:solidFill>
                <a:latin typeface="BIZ UDPゴシック" panose="020B0400000000000000" pitchFamily="50" charset="-128"/>
                <a:ea typeface="BIZ UDPゴシック" panose="020B0400000000000000" pitchFamily="50" charset="-128"/>
              </a:defRPr>
            </a:lvl1pPr>
          </a:lstStyle>
          <a:p>
            <a:pPr algn="ctr"/>
            <a:r>
              <a:rPr lang="en-US" altLang="ja-JP" sz="1700" dirty="0">
                <a:sym typeface="BIZ UDPゴシック" panose="020B0400000000000000" pitchFamily="50" charset="-128"/>
              </a:rPr>
              <a:t>ICT</a:t>
            </a:r>
            <a:r>
              <a:rPr lang="ja-JP" altLang="en-US" sz="1700" dirty="0">
                <a:sym typeface="BIZ UDPゴシック" panose="020B0400000000000000" pitchFamily="50" charset="-128"/>
              </a:rPr>
              <a:t>リテラシーチェックテスト</a:t>
            </a:r>
            <a:br>
              <a:rPr lang="en-US" altLang="ja-JP" sz="1700" dirty="0">
                <a:sym typeface="BIZ UDPゴシック" panose="020B0400000000000000" pitchFamily="50" charset="-128"/>
              </a:rPr>
            </a:br>
            <a:r>
              <a:rPr lang="ja-JP" altLang="en-US" sz="1700" dirty="0">
                <a:sym typeface="BIZ UDPゴシック" panose="020B0400000000000000" pitchFamily="50" charset="-128"/>
              </a:rPr>
              <a:t>も活用しましょう</a:t>
            </a:r>
          </a:p>
        </p:txBody>
      </p:sp>
      <p:sp>
        <p:nvSpPr>
          <p:cNvPr id="2" name="Textfeld 1">
            <a:extLst>
              <a:ext uri="{FF2B5EF4-FFF2-40B4-BE49-F238E27FC236}">
                <a16:creationId xmlns:a16="http://schemas.microsoft.com/office/drawing/2014/main" id="{0BB373B3-80E2-D46F-12C8-CBF326E3A90E}"/>
              </a:ext>
            </a:extLst>
          </p:cNvPr>
          <p:cNvSpPr txBox="1"/>
          <p:nvPr>
            <p:custDataLst>
              <p:tags r:id="rId12"/>
            </p:custDataLst>
          </p:nvPr>
        </p:nvSpPr>
        <p:spPr>
          <a:xfrm>
            <a:off x="566487"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デジタル空間の特徴</a:t>
            </a:r>
          </a:p>
        </p:txBody>
      </p:sp>
      <p:sp>
        <p:nvSpPr>
          <p:cNvPr id="3" name="Textfeld 1">
            <a:extLst>
              <a:ext uri="{FF2B5EF4-FFF2-40B4-BE49-F238E27FC236}">
                <a16:creationId xmlns:a16="http://schemas.microsoft.com/office/drawing/2014/main" id="{A5C6A652-B6A8-716B-CCA5-69A2CD96F24F}"/>
              </a:ext>
            </a:extLst>
          </p:cNvPr>
          <p:cNvSpPr txBox="1"/>
          <p:nvPr>
            <p:custDataLst>
              <p:tags r:id="rId13"/>
            </p:custDataLst>
          </p:nvPr>
        </p:nvSpPr>
        <p:spPr>
          <a:xfrm>
            <a:off x="4399670"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身近なテーマ</a:t>
            </a:r>
          </a:p>
        </p:txBody>
      </p:sp>
      <p:sp>
        <p:nvSpPr>
          <p:cNvPr id="5" name="Textfeld 1">
            <a:extLst>
              <a:ext uri="{FF2B5EF4-FFF2-40B4-BE49-F238E27FC236}">
                <a16:creationId xmlns:a16="http://schemas.microsoft.com/office/drawing/2014/main" id="{179FAC7C-67D7-9DCD-8512-55A3C4AC2A39}"/>
              </a:ext>
            </a:extLst>
          </p:cNvPr>
          <p:cNvSpPr txBox="1"/>
          <p:nvPr>
            <p:custDataLst>
              <p:tags r:id="rId14"/>
            </p:custDataLst>
          </p:nvPr>
        </p:nvSpPr>
        <p:spPr>
          <a:xfrm>
            <a:off x="8232852"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対話型の講義</a:t>
            </a:r>
          </a:p>
        </p:txBody>
      </p:sp>
      <p:cxnSp>
        <p:nvCxnSpPr>
          <p:cNvPr id="9" name="Straight Connector 8">
            <a:extLst>
              <a:ext uri="{FF2B5EF4-FFF2-40B4-BE49-F238E27FC236}">
                <a16:creationId xmlns:a16="http://schemas.microsoft.com/office/drawing/2014/main" id="{4E329A58-22E5-828C-83C6-878F5A90AE83}"/>
              </a:ext>
            </a:extLst>
          </p:cNvPr>
          <p:cNvCxnSpPr/>
          <p:nvPr/>
        </p:nvCxnSpPr>
        <p:spPr>
          <a:xfrm>
            <a:off x="8398342"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8EF672-BF78-89AF-CB03-B716A1F15934}"/>
              </a:ext>
            </a:extLst>
          </p:cNvPr>
          <p:cNvCxnSpPr/>
          <p:nvPr/>
        </p:nvCxnSpPr>
        <p:spPr>
          <a:xfrm>
            <a:off x="4565160"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58BE5C-21E7-65EE-14EB-B055519DC309}"/>
              </a:ext>
            </a:extLst>
          </p:cNvPr>
          <p:cNvCxnSpPr/>
          <p:nvPr/>
        </p:nvCxnSpPr>
        <p:spPr>
          <a:xfrm>
            <a:off x="731977"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5146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082861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3580660"/>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地球に優しくデジタル技術を使うためのコラム」を紹介し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電力や環境に配慮したスマホやタブレットの使い方として、</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使用していないアプリを閉じることで、無駄な電力消費を減らす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a:t>
            </a:r>
          </a:p>
          <a:p>
            <a:pPr>
              <a:lnSpc>
                <a:spcPct val="120000"/>
              </a:lnSpc>
            </a:pP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ネットワーク検索は消費電力が大きいため、接続先が見つからな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場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Wi-F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オフにして電力を節約することがで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使用しない時には省電力モードや低電力モードをオンにしてみ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バッテリーの寿命を長持ちさせるために、充電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なる前に、</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8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くらいで充電を終わらせるのが良いと言われて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コラムでは、使わないアプリの閉じ方などを紹介しているの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ぜひ参考にし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4850064"/>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FB972ABA-929D-4976-9BCF-AD6DC6410A1F}"/>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2435439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91855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デジタル機器や各種サービスの利用方法を知りたい人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総務省のデジタル活用支援推進事業で紹介している動画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具体的な操作手順などを学ぶことが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活用し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523273"/>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3" name="Picture 22">
            <a:extLst>
              <a:ext uri="{FF2B5EF4-FFF2-40B4-BE49-F238E27FC236}">
                <a16:creationId xmlns:a16="http://schemas.microsoft.com/office/drawing/2014/main" id="{0E70AF9E-BC82-4A0E-9E4E-BA89EE12E0A2}"/>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121969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55024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25444"/>
            <a:ext cx="6278451" cy="1512402"/>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５で学んだことを振り返り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私たちの生活がもっと便利にな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他者や社会とのつながりができ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デジタルコンテンツを作成・編集でき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身近な課題を解決でき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bwMode="gray">
          <a:xfrm>
            <a:off x="5576552" y="2781806"/>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CCB44A74-B002-41F8-A7BD-104F73A84630}"/>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94807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8160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4)</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2</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8B4CF6B0-EA09-4874-8881-08AA9AC8CE87}"/>
              </a:ext>
            </a:extLst>
          </p:cNvPr>
          <p:cNvSpPr txBox="1"/>
          <p:nvPr/>
        </p:nvSpPr>
        <p:spPr>
          <a:xfrm>
            <a:off x="4617719" y="943143"/>
            <a:ext cx="7007794" cy="246221"/>
          </a:xfrm>
          <a:prstGeom prst="rect">
            <a:avLst/>
          </a:prstGeom>
          <a:noFill/>
        </p:spPr>
        <p:txBody>
          <a:bodyPr wrap="square" lIns="0" tIns="0" rIns="0" bIns="0" rtlCol="0">
            <a:noAutofit/>
          </a:bodyPr>
          <a:lstStyle/>
          <a:p>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6004A200-D50B-CF4A-BDD4-7D58CD72423A}"/>
              </a:ext>
            </a:extLst>
          </p:cNvPr>
          <p:cNvSpPr/>
          <p:nvPr/>
        </p:nvSpPr>
        <p:spPr bwMode="gray">
          <a:xfrm>
            <a:off x="5576551"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CED205C-DB97-490D-868D-70C2401F5461}"/>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162AA715-F263-4B93-B16C-201D1D90743B}"/>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37EE23BB-0953-4310-9F40-A9034CB3F12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E4164B90-F1B9-4616-92C9-13C3140D349A}"/>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13837764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78702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5)</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3</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89C61E91-9D9C-4E5C-AED5-086C24083213}"/>
              </a:ext>
            </a:extLst>
          </p:cNvPr>
          <p:cNvSpPr txBox="1"/>
          <p:nvPr/>
        </p:nvSpPr>
        <p:spPr>
          <a:xfrm>
            <a:off x="5576552" y="1231714"/>
            <a:ext cx="6278451" cy="246221"/>
          </a:xfrm>
          <a:prstGeom prst="rect">
            <a:avLst/>
          </a:prstGeom>
          <a:noFill/>
        </p:spPr>
        <p:txBody>
          <a:bodyPr wrap="square" lIns="0" tIns="0" rIns="0" bIns="0" rtlCol="0">
            <a:no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おわりに</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29579764-8BAC-DE85-2E6C-F9508965D997}"/>
              </a:ext>
            </a:extLst>
          </p:cNvPr>
          <p:cNvSpPr/>
          <p:nvPr/>
        </p:nvSpPr>
        <p:spPr bwMode="gray">
          <a:xfrm>
            <a:off x="5576552" y="151839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2996AD61-DAD5-43AC-9C7F-02CE894D2165}"/>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9E79AD51-CDA9-45F4-9D2F-719F3A039459}"/>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EA008843-6070-4C1A-A3AB-5C16FB7DB6B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47F89E81-18EF-4AEA-8E8E-0EA8C430D0D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291171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512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6)</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4</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F8F04C42-64D5-47FC-B14F-6E1025B1B16E}"/>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習した内容について、クイズ形式で振り返ることができる、</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ェックテスト」を用意しています。</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ェックテスト」の問題演習を通じて、苦手な部分や興味のあるテーマ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理解し、学び直すことが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Q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ードで簡単にアクセスできるので、ぜひ活用してみてください。</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は継続的な学びが重要です。ぜひ繰り返し学習し、</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からのデジタル社会において身につけるべき能力をしっかりと</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につけ、高めていきましょう。</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162BB37C-322F-58DE-3A7B-A28963B2EF40}"/>
              </a:ext>
            </a:extLst>
          </p:cNvPr>
          <p:cNvSpPr/>
          <p:nvPr/>
        </p:nvSpPr>
        <p:spPr bwMode="gray">
          <a:xfrm>
            <a:off x="5576552" y="38187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AEAD019-01D1-4730-9E73-E1DCD4BBB039}"/>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E4478660-A25B-47AF-AF16-39AAF4C60443}"/>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580BF259-7496-4F5A-BE18-405E2F50BC9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F8E887A6-3A0B-4BD3-AA36-CA6AC6DC3C37}"/>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5228192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24674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7)</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5</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Box 9">
            <a:extLst>
              <a:ext uri="{FF2B5EF4-FFF2-40B4-BE49-F238E27FC236}">
                <a16:creationId xmlns:a16="http://schemas.microsoft.com/office/drawing/2014/main" id="{653A4320-BE13-462C-BD31-8670B84397AC}"/>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で身につけられる能力の一覧をまとめてい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により、５つの能力領域および２２の能力を網羅的に</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につけることができ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より詳しく学びたい方は、リテラシーの全体像について解説した</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全体像の解説書」をぜひご覧ください。</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p:txBody>
      </p:sp>
      <p:sp>
        <p:nvSpPr>
          <p:cNvPr id="12" name="Rectangle: Rounded Corners 1">
            <a:extLst>
              <a:ext uri="{FF2B5EF4-FFF2-40B4-BE49-F238E27FC236}">
                <a16:creationId xmlns:a16="http://schemas.microsoft.com/office/drawing/2014/main" id="{906714EA-91CA-3CDE-32EE-33C95CD4A91F}"/>
              </a:ext>
            </a:extLst>
          </p:cNvPr>
          <p:cNvSpPr/>
          <p:nvPr/>
        </p:nvSpPr>
        <p:spPr bwMode="gray">
          <a:xfrm>
            <a:off x="5576552" y="252604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0DF52E5F-E125-47E6-B5D6-081903F46722}"/>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FC92A822-9D14-4C04-9516-40E55F0FFB56}"/>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6" name="Rectangle 23">
            <a:extLst>
              <a:ext uri="{FF2B5EF4-FFF2-40B4-BE49-F238E27FC236}">
                <a16:creationId xmlns:a16="http://schemas.microsoft.com/office/drawing/2014/main" id="{C3DE800A-742E-470A-9D27-D1A710CEB34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E1155D81-2FAD-4945-81FA-6FB4503CC197}"/>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766063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9922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講師の説明例文</a:t>
            </a:r>
            <a:r>
              <a:rPr lang="en-US" altLang="ja-JP" dirty="0"/>
              <a:t>(</a:t>
            </a:r>
            <a:r>
              <a:rPr lang="ja-JP" altLang="en-US" dirty="0"/>
              <a:t>教材 </a:t>
            </a:r>
            <a:r>
              <a:rPr lang="en-US" altLang="ja-JP" dirty="0"/>
              <a:t>P78)</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6</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Box 10">
            <a:extLst>
              <a:ext uri="{FF2B5EF4-FFF2-40B4-BE49-F238E27FC236}">
                <a16:creationId xmlns:a16="http://schemas.microsoft.com/office/drawing/2014/main" id="{B72024AB-38CF-4A37-B022-8325203ABC51}"/>
              </a:ext>
            </a:extLst>
          </p:cNvPr>
          <p:cNvSpPr txBox="1"/>
          <p:nvPr/>
        </p:nvSpPr>
        <p:spPr>
          <a:xfrm>
            <a:off x="5576552" y="1231714"/>
            <a:ext cx="6278451" cy="646331"/>
          </a:xfrm>
          <a:prstGeom prst="rect">
            <a:avLst/>
          </a:prstGeom>
          <a:noFill/>
        </p:spPr>
        <p:txBody>
          <a:bodyPr wrap="square" lIns="0" tIns="0" rIns="0" bIns="0" rtlCol="0">
            <a:spAutoFit/>
          </a:bodyPr>
          <a:lstStyle/>
          <a:p>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の他にも、総務省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に係る、さまざまな情報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提供しています。もっと知りたい方は、こちらのリンクからアクセス</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てみてください。</a:t>
            </a:r>
          </a:p>
        </p:txBody>
      </p:sp>
      <p:sp>
        <p:nvSpPr>
          <p:cNvPr id="12" name="Rectangle: Rounded Corners 1">
            <a:extLst>
              <a:ext uri="{FF2B5EF4-FFF2-40B4-BE49-F238E27FC236}">
                <a16:creationId xmlns:a16="http://schemas.microsoft.com/office/drawing/2014/main" id="{B0157E8A-FA07-5924-968B-F9EE9C03A96F}"/>
              </a:ext>
            </a:extLst>
          </p:cNvPr>
          <p:cNvSpPr/>
          <p:nvPr/>
        </p:nvSpPr>
        <p:spPr bwMode="gray">
          <a:xfrm>
            <a:off x="5576552" y="19185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B8E171A7-E388-4D49-B85A-304F25E30BB3}"/>
              </a:ext>
            </a:extLst>
          </p:cNvPr>
          <p:cNvSpPr/>
          <p:nvPr/>
        </p:nvSpPr>
        <p:spPr bwMode="gray">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9385F394-2BA6-4071-89E7-8EDA8CDD8A10}"/>
              </a:ext>
            </a:extLst>
          </p:cNvPr>
          <p:cNvSpPr/>
          <p:nvPr/>
        </p:nvSpPr>
        <p:spPr bwMode="gray">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DA50F900-8678-47EA-8B78-9FAC4CB839A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307EDDE8-0833-48B4-9783-1F23AAA1A381}"/>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2551137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00C490-7897-1CF5-DB8A-96E5668F9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5A00C490-7897-1CF5-DB8A-96E5668F99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22">
            <a:extLst>
              <a:ext uri="{FF2B5EF4-FFF2-40B4-BE49-F238E27FC236}">
                <a16:creationId xmlns:a16="http://schemas.microsoft.com/office/drawing/2014/main" id="{2B2EE446-A857-2867-01E6-EBB655F80234}"/>
              </a:ext>
            </a:extLst>
          </p:cNvPr>
          <p:cNvSpPr/>
          <p:nvPr/>
        </p:nvSpPr>
        <p:spPr>
          <a:xfrm>
            <a:off x="0" y="999409"/>
            <a:ext cx="12192000" cy="4738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Slide Number Placeholder 1">
            <a:extLst>
              <a:ext uri="{FF2B5EF4-FFF2-40B4-BE49-F238E27FC236}">
                <a16:creationId xmlns:a16="http://schemas.microsoft.com/office/drawing/2014/main" id="{2F77678D-0588-FDA9-D839-62A886B71EF4}"/>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7</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四角形: 角を丸くする 6">
            <a:extLst>
              <a:ext uri="{FF2B5EF4-FFF2-40B4-BE49-F238E27FC236}">
                <a16:creationId xmlns:a16="http://schemas.microsoft.com/office/drawing/2014/main" id="{48696242-9D2C-91D1-9E33-B971A83C1883}"/>
              </a:ext>
            </a:extLst>
          </p:cNvPr>
          <p:cNvSpPr/>
          <p:nvPr/>
        </p:nvSpPr>
        <p:spPr>
          <a:xfrm>
            <a:off x="2807373" y="6075451"/>
            <a:ext cx="8565477" cy="379082"/>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defTabSz="914385"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240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総務省 情報流通行政局 情報流通振興課</a:t>
            </a:r>
            <a:endParaRPr kumimoji="1" lang="en-US" altLang="ja-JP" sz="240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Rectangle: Rounded Corners 3">
            <a:extLst>
              <a:ext uri="{FF2B5EF4-FFF2-40B4-BE49-F238E27FC236}">
                <a16:creationId xmlns:a16="http://schemas.microsoft.com/office/drawing/2014/main" id="{399635BC-4CD8-CE36-CF45-F0F6159E7419}"/>
              </a:ext>
            </a:extLst>
          </p:cNvPr>
          <p:cNvSpPr/>
          <p:nvPr/>
        </p:nvSpPr>
        <p:spPr bwMode="gray">
          <a:xfrm>
            <a:off x="2169824" y="6034812"/>
            <a:ext cx="1605426" cy="379081"/>
          </a:xfrm>
          <a:prstGeom prst="roundRect">
            <a:avLst>
              <a:gd name="adj" fmla="val 50000"/>
            </a:avLst>
          </a:prstGeom>
          <a:gradFill flip="none" rotWithShape="1">
            <a:gsLst>
              <a:gs pos="0">
                <a:srgbClr val="FFB781"/>
              </a:gs>
              <a:gs pos="49000">
                <a:srgbClr val="FF862C"/>
              </a:gs>
            </a:gsLst>
            <a:lin ang="2700000" scaled="1"/>
            <a:tileRect/>
          </a:gradFill>
          <a:ln w="44450" cap="flat" cmpd="sng" algn="ctr">
            <a:noFill/>
            <a:prstDash val="solid"/>
            <a:miter lim="800000"/>
          </a:ln>
          <a:effectLst>
            <a:outerShdw dist="50800" dir="2700000" algn="tl" rotWithShape="0">
              <a:srgbClr val="E26100"/>
            </a:outerShdw>
          </a:effectLst>
          <a:extLst>
            <a:ext uri="{91240B29-F687-4F45-9708-019B960494DF}">
              <a14:hiddenLine xmlns:a14="http://schemas.microsoft.com/office/drawing/2010/main" w="4445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buFont typeface="Trebuchet MS" panose="020B0603020202020204" pitchFamily="34" charset="0"/>
              <a:buChar char="​"/>
            </a:pP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発行者</a:t>
            </a:r>
            <a:endParaRPr kumimoji="1" lang="en-US" sz="24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6" name="Picture 5" descr="A logo with orange and black text&#10;&#10;Description automatically generated">
            <a:extLst>
              <a:ext uri="{FF2B5EF4-FFF2-40B4-BE49-F238E27FC236}">
                <a16:creationId xmlns:a16="http://schemas.microsoft.com/office/drawing/2014/main" id="{19B3E780-3FEF-3AB7-D85D-BB1C27F3448F}"/>
              </a:ext>
            </a:extLst>
          </p:cNvPr>
          <p:cNvPicPr>
            <a:picLocks noChangeAspect="1"/>
          </p:cNvPicPr>
          <p:nvPr/>
        </p:nvPicPr>
        <p:blipFill>
          <a:blip r:embed="rId6"/>
          <a:stretch>
            <a:fillRect/>
          </a:stretch>
        </p:blipFill>
        <p:spPr>
          <a:xfrm>
            <a:off x="2901957" y="1834975"/>
            <a:ext cx="6388086" cy="3188049"/>
          </a:xfrm>
          <a:prstGeom prst="rect">
            <a:avLst/>
          </a:prstGeom>
        </p:spPr>
      </p:pic>
    </p:spTree>
    <p:extLst>
      <p:ext uri="{BB962C8B-B14F-4D97-AF65-F5344CB8AC3E}">
        <p14:creationId xmlns:p14="http://schemas.microsoft.com/office/powerpoint/2010/main" val="2435523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5DA7FA8-2402-8F13-F08D-2C056903EB80}"/>
              </a:ext>
            </a:extLst>
          </p:cNvPr>
          <p:cNvGraphicFramePr>
            <a:graphicFrameLocks noChangeAspect="1"/>
          </p:cNvGraphicFramePr>
          <p:nvPr>
            <p:custDataLst>
              <p:tags r:id="rId1"/>
            </p:custDataLst>
            <p:extLst>
              <p:ext uri="{D42A27DB-BD31-4B8C-83A1-F6EECF244321}">
                <p14:modId xmlns:p14="http://schemas.microsoft.com/office/powerpoint/2010/main" val="4216778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15DA7FA8-2402-8F13-F08D-2C056903E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正方形/長方形 22">
            <a:extLst>
              <a:ext uri="{FF2B5EF4-FFF2-40B4-BE49-F238E27FC236}">
                <a16:creationId xmlns:a16="http://schemas.microsoft.com/office/drawing/2014/main" id="{07C295A3-6597-20B6-78A8-9D4D5ABE0458}"/>
              </a:ext>
            </a:extLst>
          </p:cNvPr>
          <p:cNvSpPr/>
          <p:nvPr/>
        </p:nvSpPr>
        <p:spPr>
          <a:xfrm>
            <a:off x="0" y="1564901"/>
            <a:ext cx="12192000" cy="3728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sz="2800">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Slide Number Placeholder 2">
            <a:extLst>
              <a:ext uri="{FF2B5EF4-FFF2-40B4-BE49-F238E27FC236}">
                <a16:creationId xmlns:a16="http://schemas.microsoft.com/office/drawing/2014/main" id="{B025FA21-8C73-6167-5F07-FCF12CD90E02}"/>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テキスト ボックス 23">
            <a:extLst>
              <a:ext uri="{FF2B5EF4-FFF2-40B4-BE49-F238E27FC236}">
                <a16:creationId xmlns:a16="http://schemas.microsoft.com/office/drawing/2014/main" id="{B76812C3-5D6A-1CEA-394E-53A5EB1DBFB2}"/>
              </a:ext>
            </a:extLst>
          </p:cNvPr>
          <p:cNvSpPr txBox="1"/>
          <p:nvPr/>
        </p:nvSpPr>
        <p:spPr>
          <a:xfrm>
            <a:off x="912000" y="3083651"/>
            <a:ext cx="10224000" cy="690702"/>
          </a:xfrm>
          <a:prstGeom prst="rect">
            <a:avLst/>
          </a:prstGeom>
          <a:noFill/>
        </p:spPr>
        <p:txBody>
          <a:bodyPr wrap="square" lIns="0" tIns="0" rIns="0" bIns="0" rtlCol="0" anchor="ctr">
            <a:spAutoFit/>
          </a:bodyPr>
          <a:lstStyle>
            <a:defPPr>
              <a:defRPr lang="en-US"/>
            </a:defPPr>
            <a:lvl1pPr defTabSz="914385">
              <a:lnSpc>
                <a:spcPct val="120000"/>
              </a:lnSpc>
              <a:spcBef>
                <a:spcPts val="1200"/>
              </a:spcBef>
              <a:defRPr kumimoji="1" sz="2800" spc="33">
                <a:solidFill>
                  <a:srgbClr val="3C3C3C"/>
                </a:solidFill>
                <a:latin typeface="Meiryo UI" panose="020B0604030504040204" pitchFamily="50" charset="-128"/>
                <a:ea typeface="Meiryo UI" panose="020B0604030504040204" pitchFamily="50" charset="-128"/>
              </a:defRPr>
            </a:lvl1pPr>
          </a:lstStyle>
          <a:p>
            <a:r>
              <a:rPr lang="ja-JP" altLang="en-US" sz="4400" dirty="0">
                <a:latin typeface="BIZ UDPゴシック" panose="020B0400000000000000" pitchFamily="50" charset="-128"/>
                <a:ea typeface="BIZ UDPゴシック" panose="020B0400000000000000" pitchFamily="50" charset="-128"/>
                <a:sym typeface="BIZ UDPゴシック" panose="020B0400000000000000" pitchFamily="50" charset="-128"/>
              </a:rPr>
              <a:t>講師用説明例文</a:t>
            </a:r>
          </a:p>
        </p:txBody>
      </p:sp>
    </p:spTree>
    <p:extLst>
      <p:ext uri="{BB962C8B-B14F-4D97-AF65-F5344CB8AC3E}">
        <p14:creationId xmlns:p14="http://schemas.microsoft.com/office/powerpoint/2010/main" val="3470441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y年%#m月&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EB&quot; g=&quot;C5&quot; b=&quot;D0&quot;/&gt;&lt;/elem&gt;&lt;elem m_fUsage=&quot;9.00000000000000022204E-01&quot;&gt;&lt;m_msothmcolidx val=&quot;0&quot;/&gt;&lt;m_rgb r=&quot;CD&quot; g=&quot;16&quot; b=&quot;24&quot;/&gt;&lt;/elem&gt;&lt;/m_vecMRU&gt;&lt;/m_mruColor&gt;&lt;m_eweekdayFirstOfWeek val=&quot;2&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生成AIリテラシー教材テーマカラー">
      <a:dk1>
        <a:srgbClr val="3C3C3C"/>
      </a:dk1>
      <a:lt1>
        <a:sysClr val="window" lastClr="FFFFFF"/>
      </a:lt1>
      <a:dk2>
        <a:srgbClr val="656D78"/>
      </a:dk2>
      <a:lt2>
        <a:srgbClr val="EBEEF5"/>
      </a:lt2>
      <a:accent1>
        <a:srgbClr val="4585DB"/>
      </a:accent1>
      <a:accent2>
        <a:srgbClr val="00ABDF"/>
      </a:accent2>
      <a:accent3>
        <a:srgbClr val="E15570"/>
      </a:accent3>
      <a:accent4>
        <a:srgbClr val="FDEDEE"/>
      </a:accent4>
      <a:accent5>
        <a:srgbClr val="FFF571"/>
      </a:accent5>
      <a:accent6>
        <a:srgbClr val="44CA82"/>
      </a:accent6>
      <a:hlink>
        <a:srgbClr val="4585DB"/>
      </a:hlink>
      <a:folHlink>
        <a:srgbClr val="3E81DA"/>
      </a:folHlink>
    </a:clrScheme>
    <a:fontScheme name="M PLUS 1p">
      <a:majorFont>
        <a:latin typeface="M PLUS 1p Bold"/>
        <a:ea typeface="M PLUS 1p Bold"/>
        <a:cs typeface=""/>
      </a:majorFont>
      <a:minorFont>
        <a:latin typeface="M PLUS 1p Medium"/>
        <a:ea typeface="M PLUS 1p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3200" spc="1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1760944DC0D04DB68E5C7ED6AA0869" ma:contentTypeVersion="13" ma:contentTypeDescription="Create a new document." ma:contentTypeScope="" ma:versionID="ff7c8ca7e4763a3c584fa997d0526ae1">
  <xsd:schema xmlns:xsd="http://www.w3.org/2001/XMLSchema" xmlns:xs="http://www.w3.org/2001/XMLSchema" xmlns:p="http://schemas.microsoft.com/office/2006/metadata/properties" xmlns:ns2="094d30e9-86f3-4ed9-99cd-61b72611c249" xmlns:ns3="e4916e4d-2ab0-48db-a7c2-62499d3445e7" targetNamespace="http://schemas.microsoft.com/office/2006/metadata/properties" ma:root="true" ma:fieldsID="a0dc314cc6c8cb78161c97d3c38e0d1c" ns2:_="" ns3:_="">
    <xsd:import namespace="094d30e9-86f3-4ed9-99cd-61b72611c249"/>
    <xsd:import namespace="e4916e4d-2ab0-48db-a7c2-62499d3445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d30e9-86f3-4ed9-99cd-61b72611c2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916e4d-2ab0-48db-a7c2-62499d3445e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ced919-1ec5-4c8a-b66f-7c70b86b5c64}" ma:internalName="TaxCatchAll" ma:showField="CatchAllData" ma:web="e4916e4d-2ab0-48db-a7c2-62499d3445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94d30e9-86f3-4ed9-99cd-61b72611c249">
      <Terms xmlns="http://schemas.microsoft.com/office/infopath/2007/PartnerControls"/>
    </lcf76f155ced4ddcb4097134ff3c332f>
    <TaxCatchAll xmlns="e4916e4d-2ab0-48db-a7c2-62499d3445e7" xsi:nil="true"/>
  </documentManagement>
</p:properties>
</file>

<file path=customXml/itemProps1.xml><?xml version="1.0" encoding="utf-8"?>
<ds:datastoreItem xmlns:ds="http://schemas.openxmlformats.org/officeDocument/2006/customXml" ds:itemID="{4AAF4E73-A974-4F88-B69C-84881CF2DE0D}"/>
</file>

<file path=customXml/itemProps2.xml><?xml version="1.0" encoding="utf-8"?>
<ds:datastoreItem xmlns:ds="http://schemas.openxmlformats.org/officeDocument/2006/customXml" ds:itemID="{84EFC534-BDB6-4D2C-B34C-AB643ADF64EB}"/>
</file>

<file path=customXml/itemProps3.xml><?xml version="1.0" encoding="utf-8"?>
<ds:datastoreItem xmlns:ds="http://schemas.openxmlformats.org/officeDocument/2006/customXml" ds:itemID="{72A5E694-AFD2-4BE9-BC78-326D8BAFEE14}"/>
</file>

<file path=docProps/app.xml><?xml version="1.0" encoding="utf-8"?>
<Properties xmlns="http://schemas.openxmlformats.org/officeDocument/2006/extended-properties" xmlns:vt="http://schemas.openxmlformats.org/officeDocument/2006/docPropsVTypes">
  <Template>default</Template>
  <TotalTime>0</TotalTime>
  <Words>18182</Words>
  <Application>Microsoft Office PowerPoint</Application>
  <PresentationFormat>Widescreen</PresentationFormat>
  <Paragraphs>940</Paragraphs>
  <Slides>88</Slides>
  <Notes>88</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8</vt:i4>
      </vt:variant>
      <vt:variant>
        <vt:lpstr>Custom Shows</vt:lpstr>
      </vt:variant>
      <vt:variant>
        <vt:i4>1</vt:i4>
      </vt:variant>
    </vt:vector>
  </HeadingPairs>
  <TitlesOfParts>
    <vt:vector size="97" baseType="lpstr">
      <vt:lpstr>BIZ UDPGothic</vt:lpstr>
      <vt:lpstr>BIZ UDPGothic</vt:lpstr>
      <vt:lpstr>UD デジタル 教科書体 NK-R</vt:lpstr>
      <vt:lpstr>Arial</vt:lpstr>
      <vt:lpstr>Trebuchet MS</vt:lpstr>
      <vt:lpstr>Wingdings</vt:lpstr>
      <vt:lpstr>Office テーマ</vt:lpstr>
      <vt:lpstr>think-cell Slide</vt:lpstr>
      <vt:lpstr>PowerPoint Presentation</vt:lpstr>
      <vt:lpstr>はじめに、講師の皆さまへ</vt:lpstr>
      <vt:lpstr>教材のゴールと伝えたいメッセージ</vt:lpstr>
      <vt:lpstr>教材のゴールと伝えたいメッセージ</vt:lpstr>
      <vt:lpstr>教材のゴールと伝えたいメッセージ</vt:lpstr>
      <vt:lpstr>教材の構成</vt:lpstr>
      <vt:lpstr>講座の進め方の例</vt:lpstr>
      <vt:lpstr>講座実施時のポイント</vt:lpstr>
      <vt:lpstr>PowerPoint Presentation</vt:lpstr>
      <vt:lpstr>講師の説明例文(教材 P1)</vt:lpstr>
      <vt:lpstr>講師の説明例文(教材 P2)</vt:lpstr>
      <vt:lpstr>講師の説明例文(教材 P3)</vt:lpstr>
      <vt:lpstr>講師の説明例文(教材 P4)</vt:lpstr>
      <vt:lpstr>講師の説明例文(教材 P5)</vt:lpstr>
      <vt:lpstr>講師の説明例文(教材 P6)</vt:lpstr>
      <vt:lpstr>講師の説明例文(教材 P7)</vt:lpstr>
      <vt:lpstr>講師の説明例文(教材 P8)</vt:lpstr>
      <vt:lpstr>講師の説明例文(教材 P9)</vt:lpstr>
      <vt:lpstr>講師の説明例文(教材 P10)</vt:lpstr>
      <vt:lpstr>講師の説明例文(教材 P11)</vt:lpstr>
      <vt:lpstr>講師の説明例文(教材 P12)</vt:lpstr>
      <vt:lpstr>講師の説明例文(教材 P13)</vt:lpstr>
      <vt:lpstr>講師の説明例文(教材 P14)</vt:lpstr>
      <vt:lpstr>講師の説明例文(教材 P15)</vt:lpstr>
      <vt:lpstr>講師の説明例文(教材 P16)</vt:lpstr>
      <vt:lpstr>講師の説明例文(教材 P17)</vt:lpstr>
      <vt:lpstr>講師の説明例文(教材 P18)</vt:lpstr>
      <vt:lpstr>講師の説明例文(教材 P19)</vt:lpstr>
      <vt:lpstr>講師の説明例文(教材 P20)</vt:lpstr>
      <vt:lpstr>講師の説明例文(教材 P21)</vt:lpstr>
      <vt:lpstr>講師の説明例文(教材 P22)</vt:lpstr>
      <vt:lpstr>講師の説明例文(教材 P23)</vt:lpstr>
      <vt:lpstr>講師の説明例文(教材 P24)</vt:lpstr>
      <vt:lpstr>講師の説明例文(教材 P25)</vt:lpstr>
      <vt:lpstr>講師の説明例文(教材 P26)</vt:lpstr>
      <vt:lpstr>講師の説明例文(教材 P27)</vt:lpstr>
      <vt:lpstr>講師の説明例文(教材 P28)</vt:lpstr>
      <vt:lpstr>講師の説明例文(教材 P29)</vt:lpstr>
      <vt:lpstr>講師の説明例文(教材 P30)</vt:lpstr>
      <vt:lpstr>講師の説明例文(教材 P31)</vt:lpstr>
      <vt:lpstr>講師の説明例文(教材 P32)</vt:lpstr>
      <vt:lpstr>講師の説明例文(教材 P33)</vt:lpstr>
      <vt:lpstr>講師の説明例文(教材 P34)</vt:lpstr>
      <vt:lpstr>講師の説明例文(教材 P35)</vt:lpstr>
      <vt:lpstr>講師の説明例文(教材 P36)</vt:lpstr>
      <vt:lpstr>講師の説明例文(教材 P37)</vt:lpstr>
      <vt:lpstr>講師の説明例文(教材 P38)</vt:lpstr>
      <vt:lpstr>講師の説明例文(教材 P39)</vt:lpstr>
      <vt:lpstr>講師の説明例文(教材 P40)</vt:lpstr>
      <vt:lpstr>講師の説明例文(教材 P41)</vt:lpstr>
      <vt:lpstr>講師の説明例文(教材 P42)</vt:lpstr>
      <vt:lpstr>講師の説明例文(教材 P43)</vt:lpstr>
      <vt:lpstr>講師の説明例文(教材 P44)</vt:lpstr>
      <vt:lpstr>講師の説明例文(教材 P45)</vt:lpstr>
      <vt:lpstr>講師の説明例文(教材 P46)</vt:lpstr>
      <vt:lpstr>講師の説明例文(教材 P47)</vt:lpstr>
      <vt:lpstr>講師の説明例文(教材 P48)</vt:lpstr>
      <vt:lpstr>講師の説明例文(教材 P49)</vt:lpstr>
      <vt:lpstr>講師の説明例文(教材 P50)</vt:lpstr>
      <vt:lpstr>講師の説明例文(教材 P51)</vt:lpstr>
      <vt:lpstr>講師の説明例文(教材 P52)</vt:lpstr>
      <vt:lpstr>講師の説明例文(教材 P53)</vt:lpstr>
      <vt:lpstr>講師の説明例文(教材 P54)</vt:lpstr>
      <vt:lpstr>講師の説明例文(教材 P55)</vt:lpstr>
      <vt:lpstr>講師の説明例文(教材 P56)</vt:lpstr>
      <vt:lpstr>講師の説明例文(教材 P57)</vt:lpstr>
      <vt:lpstr>講師の説明例文(教材 P58)</vt:lpstr>
      <vt:lpstr>講師の説明例文(教材 P59)</vt:lpstr>
      <vt:lpstr>講師の説明例文(教材 P60)</vt:lpstr>
      <vt:lpstr>講師の説明例文(教材 P61)</vt:lpstr>
      <vt:lpstr>講師の説明例文(教材 P62)</vt:lpstr>
      <vt:lpstr>講師の説明例文(教材 P63)</vt:lpstr>
      <vt:lpstr>講師の説明例文(教材 P64)</vt:lpstr>
      <vt:lpstr>講師の説明例文(教材 P65)</vt:lpstr>
      <vt:lpstr>講師の説明例文(教材 P66)</vt:lpstr>
      <vt:lpstr>講師の説明例文(教材 P67)</vt:lpstr>
      <vt:lpstr>講師の説明例文(教材 P68)</vt:lpstr>
      <vt:lpstr>講師の説明例文(教材 P69)</vt:lpstr>
      <vt:lpstr>講師の説明例文(教材 P70)</vt:lpstr>
      <vt:lpstr>講師の説明例文(教材 P71)</vt:lpstr>
      <vt:lpstr>講師の説明例文(教材 P72)</vt:lpstr>
      <vt:lpstr>講師の説明例文(教材 P73)</vt:lpstr>
      <vt:lpstr>講師の説明例文(教材 P74)</vt:lpstr>
      <vt:lpstr>講師の説明例文(教材 P75)</vt:lpstr>
      <vt:lpstr>講師の説明例文(教材 P76)</vt:lpstr>
      <vt:lpstr>講師の説明例文(教材 P77)</vt:lpstr>
      <vt:lpstr>講師の説明例文(教材 P78)</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3-27T11:30:31Z</dcterms:created>
  <dcterms:modified xsi:type="dcterms:W3CDTF">2025-03-27T11:30: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3-27T11:30:35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11dd8762-dc65-4c3e-be7c-3f465d6a3599</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18765949</vt:lpwstr>
  </property>
  <property fmtid="{D5CDD505-2E9C-101B-9397-08002B2CF9AE}" pid="11" name="NXPowerLiteVersion">
    <vt:lpwstr>D10.3.1</vt:lpwstr>
  </property>
  <property fmtid="{D5CDD505-2E9C-101B-9397-08002B2CF9AE}" pid="12" name="MediaServiceImageTags">
    <vt:lpwstr/>
  </property>
  <property fmtid="{D5CDD505-2E9C-101B-9397-08002B2CF9AE}" pid="13" name="ContentTypeId">
    <vt:lpwstr>0x0101009F1760944DC0D04DB68E5C7ED6AA0869</vt:lpwstr>
  </property>
  <property fmtid="{D5CDD505-2E9C-101B-9397-08002B2CF9AE}" pid="14" name="NXPowerLiteSettings">
    <vt:lpwstr>B7000AA0054001</vt:lpwstr>
  </property>
</Properties>
</file>